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4848" r:id="rId6"/>
    <p:sldId id="2147375597" r:id="rId7"/>
    <p:sldId id="2147375615" r:id="rId8"/>
    <p:sldId id="2147375616" r:id="rId9"/>
    <p:sldId id="2147375600" r:id="rId10"/>
    <p:sldId id="2147375617" r:id="rId11"/>
    <p:sldId id="2147375618" r:id="rId12"/>
    <p:sldId id="2147375601" r:id="rId13"/>
    <p:sldId id="2147375619" r:id="rId14"/>
    <p:sldId id="2147375620" r:id="rId15"/>
    <p:sldId id="2147375621" r:id="rId16"/>
    <p:sldId id="2147375602" r:id="rId17"/>
    <p:sldId id="2147375603" r:id="rId18"/>
    <p:sldId id="2147375604" r:id="rId19"/>
    <p:sldId id="2147375605" r:id="rId20"/>
    <p:sldId id="2147375606" r:id="rId21"/>
    <p:sldId id="2147375607" r:id="rId22"/>
    <p:sldId id="2147375608" r:id="rId23"/>
    <p:sldId id="2147375609" r:id="rId24"/>
    <p:sldId id="2147375610" r:id="rId25"/>
    <p:sldId id="2147375611" r:id="rId26"/>
    <p:sldId id="2147375612" r:id="rId27"/>
    <p:sldId id="2147375613" r:id="rId28"/>
    <p:sldId id="2147375614" r:id="rId29"/>
    <p:sldId id="1633"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272455-35EC-8D4E-9BAF-7A7973F0EEE8}" v="10" dt="2024-09-06T11:02:16.5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579" autoAdjust="0"/>
    <p:restoredTop sz="93447" autoAdjust="0"/>
  </p:normalViewPr>
  <p:slideViewPr>
    <p:cSldViewPr snapToGrid="0">
      <p:cViewPr varScale="1">
        <p:scale>
          <a:sx n="154" d="100"/>
          <a:sy n="154" d="100"/>
        </p:scale>
        <p:origin x="224" y="33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dal, Siddharth SBOBNG-PTIY/TGC" userId="a67a7350-e8c6-480c-af9b-c69106fe7e62" providerId="ADAL" clId="{35272455-35EC-8D4E-9BAF-7A7973F0EEE8}"/>
    <pc:docChg chg="undo custSel addSld delSld modSld">
      <pc:chgData name="Mandal, Siddharth SBOBNG-PTIY/TGC" userId="a67a7350-e8c6-480c-af9b-c69106fe7e62" providerId="ADAL" clId="{35272455-35EC-8D4E-9BAF-7A7973F0EEE8}" dt="2024-09-06T11:04:09.173" v="1225" actId="20577"/>
      <pc:docMkLst>
        <pc:docMk/>
      </pc:docMkLst>
      <pc:sldChg chg="modSp mod">
        <pc:chgData name="Mandal, Siddharth SBOBNG-PTIY/TGC" userId="a67a7350-e8c6-480c-af9b-c69106fe7e62" providerId="ADAL" clId="{35272455-35EC-8D4E-9BAF-7A7973F0EEE8}" dt="2024-09-06T09:54:46.783" v="45" actId="20577"/>
        <pc:sldMkLst>
          <pc:docMk/>
          <pc:sldMk cId="3267775274" sldId="256"/>
        </pc:sldMkLst>
        <pc:spChg chg="mod">
          <ac:chgData name="Mandal, Siddharth SBOBNG-PTIY/TGC" userId="a67a7350-e8c6-480c-af9b-c69106fe7e62" providerId="ADAL" clId="{35272455-35EC-8D4E-9BAF-7A7973F0EEE8}" dt="2024-09-06T09:54:04.946" v="13" actId="20577"/>
          <ac:spMkLst>
            <pc:docMk/>
            <pc:sldMk cId="3267775274" sldId="256"/>
            <ac:spMk id="6" creationId="{0C37A4A8-A3C7-407F-B123-88E2E165C827}"/>
          </ac:spMkLst>
        </pc:spChg>
        <pc:spChg chg="mod">
          <ac:chgData name="Mandal, Siddharth SBOBNG-PTIY/TGC" userId="a67a7350-e8c6-480c-af9b-c69106fe7e62" providerId="ADAL" clId="{35272455-35EC-8D4E-9BAF-7A7973F0EEE8}" dt="2024-09-06T09:54:22.900" v="35" actId="20577"/>
          <ac:spMkLst>
            <pc:docMk/>
            <pc:sldMk cId="3267775274" sldId="256"/>
            <ac:spMk id="12" creationId="{8A24547F-8A92-CDC5-A578-3733390534F2}"/>
          </ac:spMkLst>
        </pc:spChg>
        <pc:spChg chg="mod">
          <ac:chgData name="Mandal, Siddharth SBOBNG-PTIY/TGC" userId="a67a7350-e8c6-480c-af9b-c69106fe7e62" providerId="ADAL" clId="{35272455-35EC-8D4E-9BAF-7A7973F0EEE8}" dt="2024-09-06T09:54:46.783" v="45" actId="20577"/>
          <ac:spMkLst>
            <pc:docMk/>
            <pc:sldMk cId="3267775274" sldId="256"/>
            <ac:spMk id="13" creationId="{C48F8DD6-A1B3-8126-FAC3-218B712C7FFB}"/>
          </ac:spMkLst>
        </pc:spChg>
      </pc:sldChg>
      <pc:sldChg chg="del">
        <pc:chgData name="Mandal, Siddharth SBOBNG-PTIY/TGC" userId="a67a7350-e8c6-480c-af9b-c69106fe7e62" providerId="ADAL" clId="{35272455-35EC-8D4E-9BAF-7A7973F0EEE8}" dt="2024-09-06T09:56:28.042" v="46" actId="2696"/>
        <pc:sldMkLst>
          <pc:docMk/>
          <pc:sldMk cId="867832184" sldId="2147375589"/>
        </pc:sldMkLst>
      </pc:sldChg>
      <pc:sldChg chg="addSp modSp mod">
        <pc:chgData name="Mandal, Siddharth SBOBNG-PTIY/TGC" userId="a67a7350-e8c6-480c-af9b-c69106fe7e62" providerId="ADAL" clId="{35272455-35EC-8D4E-9BAF-7A7973F0EEE8}" dt="2024-09-06T10:31:11.677" v="96" actId="20577"/>
        <pc:sldMkLst>
          <pc:docMk/>
          <pc:sldMk cId="245881457" sldId="2147375597"/>
        </pc:sldMkLst>
        <pc:spChg chg="mod">
          <ac:chgData name="Mandal, Siddharth SBOBNG-PTIY/TGC" userId="a67a7350-e8c6-480c-af9b-c69106fe7e62" providerId="ADAL" clId="{35272455-35EC-8D4E-9BAF-7A7973F0EEE8}" dt="2024-09-06T10:31:11.677" v="96" actId="20577"/>
          <ac:spMkLst>
            <pc:docMk/>
            <pc:sldMk cId="245881457" sldId="2147375597"/>
            <ac:spMk id="3" creationId="{CEA128C4-A0BC-A895-713C-306E7FF62894}"/>
          </ac:spMkLst>
        </pc:spChg>
        <pc:spChg chg="mod">
          <ac:chgData name="Mandal, Siddharth SBOBNG-PTIY/TGC" userId="a67a7350-e8c6-480c-af9b-c69106fe7e62" providerId="ADAL" clId="{35272455-35EC-8D4E-9BAF-7A7973F0EEE8}" dt="2024-09-06T10:01:53.924" v="54" actId="12"/>
          <ac:spMkLst>
            <pc:docMk/>
            <pc:sldMk cId="245881457" sldId="2147375597"/>
            <ac:spMk id="11" creationId="{DE9F1BE0-7910-FA1B-DCE8-56EFD1E4FC09}"/>
          </ac:spMkLst>
        </pc:spChg>
        <pc:spChg chg="mod">
          <ac:chgData name="Mandal, Siddharth SBOBNG-PTIY/TGC" userId="a67a7350-e8c6-480c-af9b-c69106fe7e62" providerId="ADAL" clId="{35272455-35EC-8D4E-9BAF-7A7973F0EEE8}" dt="2024-09-06T10:28:17.051" v="62"/>
          <ac:spMkLst>
            <pc:docMk/>
            <pc:sldMk cId="245881457" sldId="2147375597"/>
            <ac:spMk id="12" creationId="{E53E5C3F-4D2B-B85F-E592-E58E032C664C}"/>
          </ac:spMkLst>
        </pc:spChg>
        <pc:picChg chg="add mod">
          <ac:chgData name="Mandal, Siddharth SBOBNG-PTIY/TGC" userId="a67a7350-e8c6-480c-af9b-c69106fe7e62" providerId="ADAL" clId="{35272455-35EC-8D4E-9BAF-7A7973F0EEE8}" dt="2024-09-06T10:27:37.903" v="60" actId="14100"/>
          <ac:picMkLst>
            <pc:docMk/>
            <pc:sldMk cId="245881457" sldId="2147375597"/>
            <ac:picMk id="5" creationId="{51F08BE9-123C-0F4E-241F-123D81F40DAD}"/>
          </ac:picMkLst>
        </pc:picChg>
        <pc:picChg chg="add mod">
          <ac:chgData name="Mandal, Siddharth SBOBNG-PTIY/TGC" userId="a67a7350-e8c6-480c-af9b-c69106fe7e62" providerId="ADAL" clId="{35272455-35EC-8D4E-9BAF-7A7973F0EEE8}" dt="2024-09-06T10:28:32.986" v="68" actId="1076"/>
          <ac:picMkLst>
            <pc:docMk/>
            <pc:sldMk cId="245881457" sldId="2147375597"/>
            <ac:picMk id="8" creationId="{05009908-FDB1-AC05-1113-01AE4ADB650F}"/>
          </ac:picMkLst>
        </pc:picChg>
      </pc:sldChg>
      <pc:sldChg chg="addSp modSp mod">
        <pc:chgData name="Mandal, Siddharth SBOBNG-PTIY/TGC" userId="a67a7350-e8c6-480c-af9b-c69106fe7e62" providerId="ADAL" clId="{35272455-35EC-8D4E-9BAF-7A7973F0EEE8}" dt="2024-09-06T10:33:07.003" v="148" actId="12"/>
        <pc:sldMkLst>
          <pc:docMk/>
          <pc:sldMk cId="1181112711" sldId="2147375600"/>
        </pc:sldMkLst>
        <pc:spChg chg="mod">
          <ac:chgData name="Mandal, Siddharth SBOBNG-PTIY/TGC" userId="a67a7350-e8c6-480c-af9b-c69106fe7e62" providerId="ADAL" clId="{35272455-35EC-8D4E-9BAF-7A7973F0EEE8}" dt="2024-09-06T10:31:30.993" v="132" actId="20577"/>
          <ac:spMkLst>
            <pc:docMk/>
            <pc:sldMk cId="1181112711" sldId="2147375600"/>
            <ac:spMk id="3" creationId="{CEA128C4-A0BC-A895-713C-306E7FF62894}"/>
          </ac:spMkLst>
        </pc:spChg>
        <pc:spChg chg="mod">
          <ac:chgData name="Mandal, Siddharth SBOBNG-PTIY/TGC" userId="a67a7350-e8c6-480c-af9b-c69106fe7e62" providerId="ADAL" clId="{35272455-35EC-8D4E-9BAF-7A7973F0EEE8}" dt="2024-09-06T10:33:07.003" v="148" actId="12"/>
          <ac:spMkLst>
            <pc:docMk/>
            <pc:sldMk cId="1181112711" sldId="2147375600"/>
            <ac:spMk id="11" creationId="{DE9F1BE0-7910-FA1B-DCE8-56EFD1E4FC09}"/>
          </ac:spMkLst>
        </pc:spChg>
        <pc:spChg chg="mod">
          <ac:chgData name="Mandal, Siddharth SBOBNG-PTIY/TGC" userId="a67a7350-e8c6-480c-af9b-c69106fe7e62" providerId="ADAL" clId="{35272455-35EC-8D4E-9BAF-7A7973F0EEE8}" dt="2024-09-06T10:31:55.185" v="134" actId="20577"/>
          <ac:spMkLst>
            <pc:docMk/>
            <pc:sldMk cId="1181112711" sldId="2147375600"/>
            <ac:spMk id="12" creationId="{E53E5C3F-4D2B-B85F-E592-E58E032C664C}"/>
          </ac:spMkLst>
        </pc:spChg>
        <pc:picChg chg="add mod">
          <ac:chgData name="Mandal, Siddharth SBOBNG-PTIY/TGC" userId="a67a7350-e8c6-480c-af9b-c69106fe7e62" providerId="ADAL" clId="{35272455-35EC-8D4E-9BAF-7A7973F0EEE8}" dt="2024-09-06T10:32:10.543" v="137" actId="27614"/>
          <ac:picMkLst>
            <pc:docMk/>
            <pc:sldMk cId="1181112711" sldId="2147375600"/>
            <ac:picMk id="5" creationId="{C3E2BABE-4163-A43A-8563-C0D433F2380E}"/>
          </ac:picMkLst>
        </pc:picChg>
      </pc:sldChg>
      <pc:sldChg chg="addSp delSp modSp mod">
        <pc:chgData name="Mandal, Siddharth SBOBNG-PTIY/TGC" userId="a67a7350-e8c6-480c-af9b-c69106fe7e62" providerId="ADAL" clId="{35272455-35EC-8D4E-9BAF-7A7973F0EEE8}" dt="2024-09-06T10:39:17.683" v="199" actId="12"/>
        <pc:sldMkLst>
          <pc:docMk/>
          <pc:sldMk cId="3233747587" sldId="2147375601"/>
        </pc:sldMkLst>
        <pc:spChg chg="mod">
          <ac:chgData name="Mandal, Siddharth SBOBNG-PTIY/TGC" userId="a67a7350-e8c6-480c-af9b-c69106fe7e62" providerId="ADAL" clId="{35272455-35EC-8D4E-9BAF-7A7973F0EEE8}" dt="2024-09-06T10:35:55.096" v="179" actId="5793"/>
          <ac:spMkLst>
            <pc:docMk/>
            <pc:sldMk cId="3233747587" sldId="2147375601"/>
            <ac:spMk id="3" creationId="{CEA128C4-A0BC-A895-713C-306E7FF62894}"/>
          </ac:spMkLst>
        </pc:spChg>
        <pc:spChg chg="mod">
          <ac:chgData name="Mandal, Siddharth SBOBNG-PTIY/TGC" userId="a67a7350-e8c6-480c-af9b-c69106fe7e62" providerId="ADAL" clId="{35272455-35EC-8D4E-9BAF-7A7973F0EEE8}" dt="2024-09-06T10:39:17.683" v="199" actId="12"/>
          <ac:spMkLst>
            <pc:docMk/>
            <pc:sldMk cId="3233747587" sldId="2147375601"/>
            <ac:spMk id="11" creationId="{DE9F1BE0-7910-FA1B-DCE8-56EFD1E4FC09}"/>
          </ac:spMkLst>
        </pc:spChg>
        <pc:spChg chg="mod">
          <ac:chgData name="Mandal, Siddharth SBOBNG-PTIY/TGC" userId="a67a7350-e8c6-480c-af9b-c69106fe7e62" providerId="ADAL" clId="{35272455-35EC-8D4E-9BAF-7A7973F0EEE8}" dt="2024-09-06T10:36:20.108" v="181" actId="20577"/>
          <ac:spMkLst>
            <pc:docMk/>
            <pc:sldMk cId="3233747587" sldId="2147375601"/>
            <ac:spMk id="12" creationId="{E53E5C3F-4D2B-B85F-E592-E58E032C664C}"/>
          </ac:spMkLst>
        </pc:spChg>
        <pc:picChg chg="add del mod">
          <ac:chgData name="Mandal, Siddharth SBOBNG-PTIY/TGC" userId="a67a7350-e8c6-480c-af9b-c69106fe7e62" providerId="ADAL" clId="{35272455-35EC-8D4E-9BAF-7A7973F0EEE8}" dt="2024-09-06T10:36:43.577" v="184" actId="478"/>
          <ac:picMkLst>
            <pc:docMk/>
            <pc:sldMk cId="3233747587" sldId="2147375601"/>
            <ac:picMk id="5" creationId="{33890D07-E7A4-3EA0-72A7-7E1BDC6DD167}"/>
          </ac:picMkLst>
        </pc:picChg>
        <pc:picChg chg="add mod">
          <ac:chgData name="Mandal, Siddharth SBOBNG-PTIY/TGC" userId="a67a7350-e8c6-480c-af9b-c69106fe7e62" providerId="ADAL" clId="{35272455-35EC-8D4E-9BAF-7A7973F0EEE8}" dt="2024-09-06T10:37:28.378" v="190" actId="1076"/>
          <ac:picMkLst>
            <pc:docMk/>
            <pc:sldMk cId="3233747587" sldId="2147375601"/>
            <ac:picMk id="8" creationId="{CDDA135D-24EC-2842-B065-72117FB528D6}"/>
          </ac:picMkLst>
        </pc:picChg>
      </pc:sldChg>
      <pc:sldChg chg="delSp modSp mod">
        <pc:chgData name="Mandal, Siddharth SBOBNG-PTIY/TGC" userId="a67a7350-e8c6-480c-af9b-c69106fe7e62" providerId="ADAL" clId="{35272455-35EC-8D4E-9BAF-7A7973F0EEE8}" dt="2024-09-06T10:53:18.396" v="277" actId="20577"/>
        <pc:sldMkLst>
          <pc:docMk/>
          <pc:sldMk cId="3971512377" sldId="2147375603"/>
        </pc:sldMkLst>
        <pc:spChg chg="mod">
          <ac:chgData name="Mandal, Siddharth SBOBNG-PTIY/TGC" userId="a67a7350-e8c6-480c-af9b-c69106fe7e62" providerId="ADAL" clId="{35272455-35EC-8D4E-9BAF-7A7973F0EEE8}" dt="2024-09-06T10:53:18.396" v="277" actId="20577"/>
          <ac:spMkLst>
            <pc:docMk/>
            <pc:sldMk cId="3971512377" sldId="2147375603"/>
            <ac:spMk id="3" creationId="{CEA128C4-A0BC-A895-713C-306E7FF62894}"/>
          </ac:spMkLst>
        </pc:spChg>
        <pc:spChg chg="mod">
          <ac:chgData name="Mandal, Siddharth SBOBNG-PTIY/TGC" userId="a67a7350-e8c6-480c-af9b-c69106fe7e62" providerId="ADAL" clId="{35272455-35EC-8D4E-9BAF-7A7973F0EEE8}" dt="2024-09-06T10:53:15.769" v="271" actId="1076"/>
          <ac:spMkLst>
            <pc:docMk/>
            <pc:sldMk cId="3971512377" sldId="2147375603"/>
            <ac:spMk id="11" creationId="{DE9F1BE0-7910-FA1B-DCE8-56EFD1E4FC09}"/>
          </ac:spMkLst>
        </pc:spChg>
        <pc:spChg chg="del mod">
          <ac:chgData name="Mandal, Siddharth SBOBNG-PTIY/TGC" userId="a67a7350-e8c6-480c-af9b-c69106fe7e62" providerId="ADAL" clId="{35272455-35EC-8D4E-9BAF-7A7973F0EEE8}" dt="2024-09-06T10:53:09.756" v="270" actId="478"/>
          <ac:spMkLst>
            <pc:docMk/>
            <pc:sldMk cId="3971512377" sldId="2147375603"/>
            <ac:spMk id="12" creationId="{E53E5C3F-4D2B-B85F-E592-E58E032C664C}"/>
          </ac:spMkLst>
        </pc:spChg>
      </pc:sldChg>
      <pc:sldChg chg="delSp modSp mod">
        <pc:chgData name="Mandal, Siddharth SBOBNG-PTIY/TGC" userId="a67a7350-e8c6-480c-af9b-c69106fe7e62" providerId="ADAL" clId="{35272455-35EC-8D4E-9BAF-7A7973F0EEE8}" dt="2024-09-06T10:54:24.908" v="295" actId="1076"/>
        <pc:sldMkLst>
          <pc:docMk/>
          <pc:sldMk cId="3179805674" sldId="2147375604"/>
        </pc:sldMkLst>
        <pc:spChg chg="mod">
          <ac:chgData name="Mandal, Siddharth SBOBNG-PTIY/TGC" userId="a67a7350-e8c6-480c-af9b-c69106fe7e62" providerId="ADAL" clId="{35272455-35EC-8D4E-9BAF-7A7973F0EEE8}" dt="2024-09-06T10:53:23.102" v="284" actId="20577"/>
          <ac:spMkLst>
            <pc:docMk/>
            <pc:sldMk cId="3179805674" sldId="2147375604"/>
            <ac:spMk id="3" creationId="{CEA128C4-A0BC-A895-713C-306E7FF62894}"/>
          </ac:spMkLst>
        </pc:spChg>
        <pc:spChg chg="mod">
          <ac:chgData name="Mandal, Siddharth SBOBNG-PTIY/TGC" userId="a67a7350-e8c6-480c-af9b-c69106fe7e62" providerId="ADAL" clId="{35272455-35EC-8D4E-9BAF-7A7973F0EEE8}" dt="2024-09-06T10:54:24.908" v="295" actId="1076"/>
          <ac:spMkLst>
            <pc:docMk/>
            <pc:sldMk cId="3179805674" sldId="2147375604"/>
            <ac:spMk id="11" creationId="{DE9F1BE0-7910-FA1B-DCE8-56EFD1E4FC09}"/>
          </ac:spMkLst>
        </pc:spChg>
        <pc:spChg chg="del mod">
          <ac:chgData name="Mandal, Siddharth SBOBNG-PTIY/TGC" userId="a67a7350-e8c6-480c-af9b-c69106fe7e62" providerId="ADAL" clId="{35272455-35EC-8D4E-9BAF-7A7973F0EEE8}" dt="2024-09-06T10:54:20.070" v="294" actId="478"/>
          <ac:spMkLst>
            <pc:docMk/>
            <pc:sldMk cId="3179805674" sldId="2147375604"/>
            <ac:spMk id="12" creationId="{E53E5C3F-4D2B-B85F-E592-E58E032C664C}"/>
          </ac:spMkLst>
        </pc:spChg>
      </pc:sldChg>
      <pc:sldChg chg="delSp modSp mod">
        <pc:chgData name="Mandal, Siddharth SBOBNG-PTIY/TGC" userId="a67a7350-e8c6-480c-af9b-c69106fe7e62" providerId="ADAL" clId="{35272455-35EC-8D4E-9BAF-7A7973F0EEE8}" dt="2024-09-06T10:55:34.757" v="317" actId="20577"/>
        <pc:sldMkLst>
          <pc:docMk/>
          <pc:sldMk cId="86366928" sldId="2147375605"/>
        </pc:sldMkLst>
        <pc:spChg chg="mod">
          <ac:chgData name="Mandal, Siddharth SBOBNG-PTIY/TGC" userId="a67a7350-e8c6-480c-af9b-c69106fe7e62" providerId="ADAL" clId="{35272455-35EC-8D4E-9BAF-7A7973F0EEE8}" dt="2024-09-06T10:54:30.274" v="306" actId="20577"/>
          <ac:spMkLst>
            <pc:docMk/>
            <pc:sldMk cId="86366928" sldId="2147375605"/>
            <ac:spMk id="3" creationId="{CEA128C4-A0BC-A895-713C-306E7FF62894}"/>
          </ac:spMkLst>
        </pc:spChg>
        <pc:spChg chg="mod">
          <ac:chgData name="Mandal, Siddharth SBOBNG-PTIY/TGC" userId="a67a7350-e8c6-480c-af9b-c69106fe7e62" providerId="ADAL" clId="{35272455-35EC-8D4E-9BAF-7A7973F0EEE8}" dt="2024-09-06T10:55:34.757" v="317" actId="20577"/>
          <ac:spMkLst>
            <pc:docMk/>
            <pc:sldMk cId="86366928" sldId="2147375605"/>
            <ac:spMk id="11" creationId="{DE9F1BE0-7910-FA1B-DCE8-56EFD1E4FC09}"/>
          </ac:spMkLst>
        </pc:spChg>
        <pc:spChg chg="del mod">
          <ac:chgData name="Mandal, Siddharth SBOBNG-PTIY/TGC" userId="a67a7350-e8c6-480c-af9b-c69106fe7e62" providerId="ADAL" clId="{35272455-35EC-8D4E-9BAF-7A7973F0EEE8}" dt="2024-09-06T10:54:34.957" v="308" actId="478"/>
          <ac:spMkLst>
            <pc:docMk/>
            <pc:sldMk cId="86366928" sldId="2147375605"/>
            <ac:spMk id="12" creationId="{E53E5C3F-4D2B-B85F-E592-E58E032C664C}"/>
          </ac:spMkLst>
        </pc:spChg>
      </pc:sldChg>
      <pc:sldChg chg="delSp modSp mod">
        <pc:chgData name="Mandal, Siddharth SBOBNG-PTIY/TGC" userId="a67a7350-e8c6-480c-af9b-c69106fe7e62" providerId="ADAL" clId="{35272455-35EC-8D4E-9BAF-7A7973F0EEE8}" dt="2024-09-06T10:49:14.978" v="247" actId="1076"/>
        <pc:sldMkLst>
          <pc:docMk/>
          <pc:sldMk cId="2340944189" sldId="2147375607"/>
        </pc:sldMkLst>
        <pc:spChg chg="mod">
          <ac:chgData name="Mandal, Siddharth SBOBNG-PTIY/TGC" userId="a67a7350-e8c6-480c-af9b-c69106fe7e62" providerId="ADAL" clId="{35272455-35EC-8D4E-9BAF-7A7973F0EEE8}" dt="2024-09-06T10:48:21.217" v="242" actId="20577"/>
          <ac:spMkLst>
            <pc:docMk/>
            <pc:sldMk cId="2340944189" sldId="2147375607"/>
            <ac:spMk id="3" creationId="{CEA128C4-A0BC-A895-713C-306E7FF62894}"/>
          </ac:spMkLst>
        </pc:spChg>
        <pc:spChg chg="mod">
          <ac:chgData name="Mandal, Siddharth SBOBNG-PTIY/TGC" userId="a67a7350-e8c6-480c-af9b-c69106fe7e62" providerId="ADAL" clId="{35272455-35EC-8D4E-9BAF-7A7973F0EEE8}" dt="2024-09-06T10:49:14.978" v="247" actId="1076"/>
          <ac:spMkLst>
            <pc:docMk/>
            <pc:sldMk cId="2340944189" sldId="2147375607"/>
            <ac:spMk id="11" creationId="{DE9F1BE0-7910-FA1B-DCE8-56EFD1E4FC09}"/>
          </ac:spMkLst>
        </pc:spChg>
        <pc:spChg chg="del mod">
          <ac:chgData name="Mandal, Siddharth SBOBNG-PTIY/TGC" userId="a67a7350-e8c6-480c-af9b-c69106fe7e62" providerId="ADAL" clId="{35272455-35EC-8D4E-9BAF-7A7973F0EEE8}" dt="2024-09-06T10:49:03.881" v="246" actId="478"/>
          <ac:spMkLst>
            <pc:docMk/>
            <pc:sldMk cId="2340944189" sldId="2147375607"/>
            <ac:spMk id="12" creationId="{E53E5C3F-4D2B-B85F-E592-E58E032C664C}"/>
          </ac:spMkLst>
        </pc:spChg>
      </pc:sldChg>
      <pc:sldChg chg="delSp modSp mod">
        <pc:chgData name="Mandal, Siddharth SBOBNG-PTIY/TGC" userId="a67a7350-e8c6-480c-af9b-c69106fe7e62" providerId="ADAL" clId="{35272455-35EC-8D4E-9BAF-7A7973F0EEE8}" dt="2024-09-06T10:56:49.327" v="417" actId="20577"/>
        <pc:sldMkLst>
          <pc:docMk/>
          <pc:sldMk cId="3159148252" sldId="2147375608"/>
        </pc:sldMkLst>
        <pc:spChg chg="mod">
          <ac:chgData name="Mandal, Siddharth SBOBNG-PTIY/TGC" userId="a67a7350-e8c6-480c-af9b-c69106fe7e62" providerId="ADAL" clId="{35272455-35EC-8D4E-9BAF-7A7973F0EEE8}" dt="2024-09-06T10:56:49.327" v="417" actId="20577"/>
          <ac:spMkLst>
            <pc:docMk/>
            <pc:sldMk cId="3159148252" sldId="2147375608"/>
            <ac:spMk id="3" creationId="{CEA128C4-A0BC-A895-713C-306E7FF62894}"/>
          </ac:spMkLst>
        </pc:spChg>
        <pc:spChg chg="mod">
          <ac:chgData name="Mandal, Siddharth SBOBNG-PTIY/TGC" userId="a67a7350-e8c6-480c-af9b-c69106fe7e62" providerId="ADAL" clId="{35272455-35EC-8D4E-9BAF-7A7973F0EEE8}" dt="2024-09-06T10:50:41.124" v="253" actId="1076"/>
          <ac:spMkLst>
            <pc:docMk/>
            <pc:sldMk cId="3159148252" sldId="2147375608"/>
            <ac:spMk id="11" creationId="{DE9F1BE0-7910-FA1B-DCE8-56EFD1E4FC09}"/>
          </ac:spMkLst>
        </pc:spChg>
        <pc:spChg chg="del mod">
          <ac:chgData name="Mandal, Siddharth SBOBNG-PTIY/TGC" userId="a67a7350-e8c6-480c-af9b-c69106fe7e62" providerId="ADAL" clId="{35272455-35EC-8D4E-9BAF-7A7973F0EEE8}" dt="2024-09-06T10:50:35.642" v="252" actId="478"/>
          <ac:spMkLst>
            <pc:docMk/>
            <pc:sldMk cId="3159148252" sldId="2147375608"/>
            <ac:spMk id="12" creationId="{E53E5C3F-4D2B-B85F-E592-E58E032C664C}"/>
          </ac:spMkLst>
        </pc:spChg>
      </pc:sldChg>
      <pc:sldChg chg="addSp delSp modSp mod">
        <pc:chgData name="Mandal, Siddharth SBOBNG-PTIY/TGC" userId="a67a7350-e8c6-480c-af9b-c69106fe7e62" providerId="ADAL" clId="{35272455-35EC-8D4E-9BAF-7A7973F0EEE8}" dt="2024-09-06T10:56:42.719" v="408" actId="20577"/>
        <pc:sldMkLst>
          <pc:docMk/>
          <pc:sldMk cId="3070204084" sldId="2147375609"/>
        </pc:sldMkLst>
        <pc:spChg chg="mod">
          <ac:chgData name="Mandal, Siddharth SBOBNG-PTIY/TGC" userId="a67a7350-e8c6-480c-af9b-c69106fe7e62" providerId="ADAL" clId="{35272455-35EC-8D4E-9BAF-7A7973F0EEE8}" dt="2024-09-06T10:56:42.719" v="408" actId="20577"/>
          <ac:spMkLst>
            <pc:docMk/>
            <pc:sldMk cId="3070204084" sldId="2147375609"/>
            <ac:spMk id="3" creationId="{CEA128C4-A0BC-A895-713C-306E7FF62894}"/>
          </ac:spMkLst>
        </pc:spChg>
        <pc:spChg chg="add mod">
          <ac:chgData name="Mandal, Siddharth SBOBNG-PTIY/TGC" userId="a67a7350-e8c6-480c-af9b-c69106fe7e62" providerId="ADAL" clId="{35272455-35EC-8D4E-9BAF-7A7973F0EEE8}" dt="2024-09-06T10:51:55.130" v="261" actId="571"/>
          <ac:spMkLst>
            <pc:docMk/>
            <pc:sldMk cId="3070204084" sldId="2147375609"/>
            <ac:spMk id="5" creationId="{24E640D2-826C-E4D5-8D7E-6BF9614655C7}"/>
          </ac:spMkLst>
        </pc:spChg>
        <pc:spChg chg="mod">
          <ac:chgData name="Mandal, Siddharth SBOBNG-PTIY/TGC" userId="a67a7350-e8c6-480c-af9b-c69106fe7e62" providerId="ADAL" clId="{35272455-35EC-8D4E-9BAF-7A7973F0EEE8}" dt="2024-09-06T10:51:57.653" v="262" actId="1076"/>
          <ac:spMkLst>
            <pc:docMk/>
            <pc:sldMk cId="3070204084" sldId="2147375609"/>
            <ac:spMk id="11" creationId="{DE9F1BE0-7910-FA1B-DCE8-56EFD1E4FC09}"/>
          </ac:spMkLst>
        </pc:spChg>
        <pc:spChg chg="del mod">
          <ac:chgData name="Mandal, Siddharth SBOBNG-PTIY/TGC" userId="a67a7350-e8c6-480c-af9b-c69106fe7e62" providerId="ADAL" clId="{35272455-35EC-8D4E-9BAF-7A7973F0EEE8}" dt="2024-09-06T10:50:47.572" v="255" actId="478"/>
          <ac:spMkLst>
            <pc:docMk/>
            <pc:sldMk cId="3070204084" sldId="2147375609"/>
            <ac:spMk id="12" creationId="{E53E5C3F-4D2B-B85F-E592-E58E032C664C}"/>
          </ac:spMkLst>
        </pc:spChg>
      </pc:sldChg>
      <pc:sldChg chg="modSp mod">
        <pc:chgData name="Mandal, Siddharth SBOBNG-PTIY/TGC" userId="a67a7350-e8c6-480c-af9b-c69106fe7e62" providerId="ADAL" clId="{35272455-35EC-8D4E-9BAF-7A7973F0EEE8}" dt="2024-09-06T11:00:03.304" v="786" actId="20577"/>
        <pc:sldMkLst>
          <pc:docMk/>
          <pc:sldMk cId="3754613224" sldId="2147375611"/>
        </pc:sldMkLst>
        <pc:spChg chg="mod">
          <ac:chgData name="Mandal, Siddharth SBOBNG-PTIY/TGC" userId="a67a7350-e8c6-480c-af9b-c69106fe7e62" providerId="ADAL" clId="{35272455-35EC-8D4E-9BAF-7A7973F0EEE8}" dt="2024-09-06T10:59:01.696" v="572" actId="20577"/>
          <ac:spMkLst>
            <pc:docMk/>
            <pc:sldMk cId="3754613224" sldId="2147375611"/>
            <ac:spMk id="18" creationId="{6C73795A-BE20-7075-E9C6-6F145CE60794}"/>
          </ac:spMkLst>
        </pc:spChg>
        <pc:spChg chg="mod">
          <ac:chgData name="Mandal, Siddharth SBOBNG-PTIY/TGC" userId="a67a7350-e8c6-480c-af9b-c69106fe7e62" providerId="ADAL" clId="{35272455-35EC-8D4E-9BAF-7A7973F0EEE8}" dt="2024-09-06T10:59:25.409" v="674" actId="20577"/>
          <ac:spMkLst>
            <pc:docMk/>
            <pc:sldMk cId="3754613224" sldId="2147375611"/>
            <ac:spMk id="19" creationId="{A3E2F4D1-4417-E244-3DB9-A6FF5866A342}"/>
          </ac:spMkLst>
        </pc:spChg>
        <pc:spChg chg="mod">
          <ac:chgData name="Mandal, Siddharth SBOBNG-PTIY/TGC" userId="a67a7350-e8c6-480c-af9b-c69106fe7e62" providerId="ADAL" clId="{35272455-35EC-8D4E-9BAF-7A7973F0EEE8}" dt="2024-09-06T11:00:03.304" v="786" actId="20577"/>
          <ac:spMkLst>
            <pc:docMk/>
            <pc:sldMk cId="3754613224" sldId="2147375611"/>
            <ac:spMk id="20" creationId="{3EBEB0AC-D407-44FD-A74F-90F67F3D13C3}"/>
          </ac:spMkLst>
        </pc:spChg>
      </pc:sldChg>
      <pc:sldChg chg="addSp modSp mod">
        <pc:chgData name="Mandal, Siddharth SBOBNG-PTIY/TGC" userId="a67a7350-e8c6-480c-af9b-c69106fe7e62" providerId="ADAL" clId="{35272455-35EC-8D4E-9BAF-7A7973F0EEE8}" dt="2024-09-06T11:02:23.240" v="976" actId="27614"/>
        <pc:sldMkLst>
          <pc:docMk/>
          <pc:sldMk cId="1148838763" sldId="2147375613"/>
        </pc:sldMkLst>
        <pc:spChg chg="mod">
          <ac:chgData name="Mandal, Siddharth SBOBNG-PTIY/TGC" userId="a67a7350-e8c6-480c-af9b-c69106fe7e62" providerId="ADAL" clId="{35272455-35EC-8D4E-9BAF-7A7973F0EEE8}" dt="2024-09-06T11:00:42.528" v="971" actId="20577"/>
          <ac:spMkLst>
            <pc:docMk/>
            <pc:sldMk cId="1148838763" sldId="2147375613"/>
            <ac:spMk id="11" creationId="{8CC1343B-2E39-FEFF-8FF6-46822F18B432}"/>
          </ac:spMkLst>
        </pc:spChg>
        <pc:spChg chg="mod">
          <ac:chgData name="Mandal, Siddharth SBOBNG-PTIY/TGC" userId="a67a7350-e8c6-480c-af9b-c69106fe7e62" providerId="ADAL" clId="{35272455-35EC-8D4E-9BAF-7A7973F0EEE8}" dt="2024-09-06T11:00:44.900" v="972" actId="20577"/>
          <ac:spMkLst>
            <pc:docMk/>
            <pc:sldMk cId="1148838763" sldId="2147375613"/>
            <ac:spMk id="12" creationId="{5A873A1A-E63F-91AE-7D43-ED0F86870147}"/>
          </ac:spMkLst>
        </pc:spChg>
        <pc:picChg chg="add mod">
          <ac:chgData name="Mandal, Siddharth SBOBNG-PTIY/TGC" userId="a67a7350-e8c6-480c-af9b-c69106fe7e62" providerId="ADAL" clId="{35272455-35EC-8D4E-9BAF-7A7973F0EEE8}" dt="2024-09-06T11:02:23.240" v="976" actId="27614"/>
          <ac:picMkLst>
            <pc:docMk/>
            <pc:sldMk cId="1148838763" sldId="2147375613"/>
            <ac:picMk id="6" creationId="{C542FB1B-4CAB-E72C-6F6B-9637B95444BB}"/>
          </ac:picMkLst>
        </pc:picChg>
      </pc:sldChg>
      <pc:sldChg chg="modSp mod">
        <pc:chgData name="Mandal, Siddharth SBOBNG-PTIY/TGC" userId="a67a7350-e8c6-480c-af9b-c69106fe7e62" providerId="ADAL" clId="{35272455-35EC-8D4E-9BAF-7A7973F0EEE8}" dt="2024-09-06T11:04:09.173" v="1225" actId="20577"/>
        <pc:sldMkLst>
          <pc:docMk/>
          <pc:sldMk cId="3865850111" sldId="2147375614"/>
        </pc:sldMkLst>
        <pc:spChg chg="mod">
          <ac:chgData name="Mandal, Siddharth SBOBNG-PTIY/TGC" userId="a67a7350-e8c6-480c-af9b-c69106fe7e62" providerId="ADAL" clId="{35272455-35EC-8D4E-9BAF-7A7973F0EEE8}" dt="2024-09-06T11:04:09.173" v="1225" actId="20577"/>
          <ac:spMkLst>
            <pc:docMk/>
            <pc:sldMk cId="3865850111" sldId="2147375614"/>
            <ac:spMk id="6" creationId="{AC2F88D2-81D4-FAD4-568E-A3F495B06411}"/>
          </ac:spMkLst>
        </pc:spChg>
      </pc:sldChg>
      <pc:sldChg chg="modSp add mod">
        <pc:chgData name="Mandal, Siddharth SBOBNG-PTIY/TGC" userId="a67a7350-e8c6-480c-af9b-c69106fe7e62" providerId="ADAL" clId="{35272455-35EC-8D4E-9BAF-7A7973F0EEE8}" dt="2024-09-06T10:31:15.591" v="105" actId="5793"/>
        <pc:sldMkLst>
          <pc:docMk/>
          <pc:sldMk cId="2854361648" sldId="2147375615"/>
        </pc:sldMkLst>
        <pc:spChg chg="mod">
          <ac:chgData name="Mandal, Siddharth SBOBNG-PTIY/TGC" userId="a67a7350-e8c6-480c-af9b-c69106fe7e62" providerId="ADAL" clId="{35272455-35EC-8D4E-9BAF-7A7973F0EEE8}" dt="2024-09-06T10:31:15.591" v="105" actId="5793"/>
          <ac:spMkLst>
            <pc:docMk/>
            <pc:sldMk cId="2854361648" sldId="2147375615"/>
            <ac:spMk id="3" creationId="{B653DA5E-0362-CE38-56BF-E10F72EEAC48}"/>
          </ac:spMkLst>
        </pc:spChg>
        <pc:spChg chg="mod">
          <ac:chgData name="Mandal, Siddharth SBOBNG-PTIY/TGC" userId="a67a7350-e8c6-480c-af9b-c69106fe7e62" providerId="ADAL" clId="{35272455-35EC-8D4E-9BAF-7A7973F0EEE8}" dt="2024-09-06T10:29:28.238" v="81" actId="12"/>
          <ac:spMkLst>
            <pc:docMk/>
            <pc:sldMk cId="2854361648" sldId="2147375615"/>
            <ac:spMk id="11" creationId="{3E52830D-A1D1-E545-C1B5-7A77AE4AF979}"/>
          </ac:spMkLst>
        </pc:spChg>
      </pc:sldChg>
      <pc:sldChg chg="modSp add mod">
        <pc:chgData name="Mandal, Siddharth SBOBNG-PTIY/TGC" userId="a67a7350-e8c6-480c-af9b-c69106fe7e62" providerId="ADAL" clId="{35272455-35EC-8D4E-9BAF-7A7973F0EEE8}" dt="2024-09-06T10:31:25.415" v="120" actId="20577"/>
        <pc:sldMkLst>
          <pc:docMk/>
          <pc:sldMk cId="11114489" sldId="2147375616"/>
        </pc:sldMkLst>
        <pc:spChg chg="mod">
          <ac:chgData name="Mandal, Siddharth SBOBNG-PTIY/TGC" userId="a67a7350-e8c6-480c-af9b-c69106fe7e62" providerId="ADAL" clId="{35272455-35EC-8D4E-9BAF-7A7973F0EEE8}" dt="2024-09-06T10:31:25.415" v="120" actId="20577"/>
          <ac:spMkLst>
            <pc:docMk/>
            <pc:sldMk cId="11114489" sldId="2147375616"/>
            <ac:spMk id="3" creationId="{DFA5106D-6D85-AAC5-957A-3CF247FED43E}"/>
          </ac:spMkLst>
        </pc:spChg>
        <pc:spChg chg="mod">
          <ac:chgData name="Mandal, Siddharth SBOBNG-PTIY/TGC" userId="a67a7350-e8c6-480c-af9b-c69106fe7e62" providerId="ADAL" clId="{35272455-35EC-8D4E-9BAF-7A7973F0EEE8}" dt="2024-09-06T10:30:14.171" v="88" actId="12"/>
          <ac:spMkLst>
            <pc:docMk/>
            <pc:sldMk cId="11114489" sldId="2147375616"/>
            <ac:spMk id="11" creationId="{B987551C-B3C5-3B6B-4306-3F4CA7E8B199}"/>
          </ac:spMkLst>
        </pc:spChg>
      </pc:sldChg>
      <pc:sldChg chg="modSp add mod">
        <pc:chgData name="Mandal, Siddharth SBOBNG-PTIY/TGC" userId="a67a7350-e8c6-480c-af9b-c69106fe7e62" providerId="ADAL" clId="{35272455-35EC-8D4E-9BAF-7A7973F0EEE8}" dt="2024-09-06T10:34:48.466" v="159" actId="12"/>
        <pc:sldMkLst>
          <pc:docMk/>
          <pc:sldMk cId="3798371212" sldId="2147375617"/>
        </pc:sldMkLst>
        <pc:spChg chg="mod">
          <ac:chgData name="Mandal, Siddharth SBOBNG-PTIY/TGC" userId="a67a7350-e8c6-480c-af9b-c69106fe7e62" providerId="ADAL" clId="{35272455-35EC-8D4E-9BAF-7A7973F0EEE8}" dt="2024-09-06T10:34:48.466" v="159" actId="12"/>
          <ac:spMkLst>
            <pc:docMk/>
            <pc:sldMk cId="3798371212" sldId="2147375617"/>
            <ac:spMk id="11" creationId="{B0D07B18-7FE9-249F-8666-35F4C5350FC1}"/>
          </ac:spMkLst>
        </pc:spChg>
      </pc:sldChg>
      <pc:sldChg chg="modSp add mod">
        <pc:chgData name="Mandal, Siddharth SBOBNG-PTIY/TGC" userId="a67a7350-e8c6-480c-af9b-c69106fe7e62" providerId="ADAL" clId="{35272455-35EC-8D4E-9BAF-7A7973F0EEE8}" dt="2024-09-06T10:35:37.495" v="165" actId="255"/>
        <pc:sldMkLst>
          <pc:docMk/>
          <pc:sldMk cId="3033168592" sldId="2147375618"/>
        </pc:sldMkLst>
        <pc:spChg chg="mod">
          <ac:chgData name="Mandal, Siddharth SBOBNG-PTIY/TGC" userId="a67a7350-e8c6-480c-af9b-c69106fe7e62" providerId="ADAL" clId="{35272455-35EC-8D4E-9BAF-7A7973F0EEE8}" dt="2024-09-06T10:35:37.495" v="165" actId="255"/>
          <ac:spMkLst>
            <pc:docMk/>
            <pc:sldMk cId="3033168592" sldId="2147375618"/>
            <ac:spMk id="11" creationId="{0561E30D-74DF-B1F0-4127-0FC2646E3980}"/>
          </ac:spMkLst>
        </pc:spChg>
      </pc:sldChg>
      <pc:sldChg chg="addSp delSp modSp add mod">
        <pc:chgData name="Mandal, Siddharth SBOBNG-PTIY/TGC" userId="a67a7350-e8c6-480c-af9b-c69106fe7e62" providerId="ADAL" clId="{35272455-35EC-8D4E-9BAF-7A7973F0EEE8}" dt="2024-09-06T10:43:39.281" v="225" actId="12"/>
        <pc:sldMkLst>
          <pc:docMk/>
          <pc:sldMk cId="15408021" sldId="2147375619"/>
        </pc:sldMkLst>
        <pc:spChg chg="mod">
          <ac:chgData name="Mandal, Siddharth SBOBNG-PTIY/TGC" userId="a67a7350-e8c6-480c-af9b-c69106fe7e62" providerId="ADAL" clId="{35272455-35EC-8D4E-9BAF-7A7973F0EEE8}" dt="2024-09-06T10:39:33.229" v="204" actId="20577"/>
          <ac:spMkLst>
            <pc:docMk/>
            <pc:sldMk cId="15408021" sldId="2147375619"/>
            <ac:spMk id="3" creationId="{D0DD3A80-5552-3C1E-4FA8-E4B0DF848194}"/>
          </ac:spMkLst>
        </pc:spChg>
        <pc:spChg chg="mod">
          <ac:chgData name="Mandal, Siddharth SBOBNG-PTIY/TGC" userId="a67a7350-e8c6-480c-af9b-c69106fe7e62" providerId="ADAL" clId="{35272455-35EC-8D4E-9BAF-7A7973F0EEE8}" dt="2024-09-06T10:43:39.281" v="225" actId="12"/>
          <ac:spMkLst>
            <pc:docMk/>
            <pc:sldMk cId="15408021" sldId="2147375619"/>
            <ac:spMk id="11" creationId="{9DE1A541-2317-0F27-C712-1106F2E8E73A}"/>
          </ac:spMkLst>
        </pc:spChg>
        <pc:picChg chg="add mod">
          <ac:chgData name="Mandal, Siddharth SBOBNG-PTIY/TGC" userId="a67a7350-e8c6-480c-af9b-c69106fe7e62" providerId="ADAL" clId="{35272455-35EC-8D4E-9BAF-7A7973F0EEE8}" dt="2024-09-06T10:41:55.842" v="211" actId="962"/>
          <ac:picMkLst>
            <pc:docMk/>
            <pc:sldMk cId="15408021" sldId="2147375619"/>
            <ac:picMk id="5" creationId="{CE1682D6-233A-FE0A-4BF7-1558D2BC8624}"/>
          </ac:picMkLst>
        </pc:picChg>
        <pc:picChg chg="del">
          <ac:chgData name="Mandal, Siddharth SBOBNG-PTIY/TGC" userId="a67a7350-e8c6-480c-af9b-c69106fe7e62" providerId="ADAL" clId="{35272455-35EC-8D4E-9BAF-7A7973F0EEE8}" dt="2024-09-06T10:41:29.915" v="205" actId="478"/>
          <ac:picMkLst>
            <pc:docMk/>
            <pc:sldMk cId="15408021" sldId="2147375619"/>
            <ac:picMk id="8" creationId="{B7A844BF-35E7-E8F7-C11A-D542B35AD7E4}"/>
          </ac:picMkLst>
        </pc:picChg>
      </pc:sldChg>
      <pc:sldChg chg="modSp add mod">
        <pc:chgData name="Mandal, Siddharth SBOBNG-PTIY/TGC" userId="a67a7350-e8c6-480c-af9b-c69106fe7e62" providerId="ADAL" clId="{35272455-35EC-8D4E-9BAF-7A7973F0EEE8}" dt="2024-09-06T10:45:27.094" v="230" actId="12"/>
        <pc:sldMkLst>
          <pc:docMk/>
          <pc:sldMk cId="3987749037" sldId="2147375620"/>
        </pc:sldMkLst>
        <pc:spChg chg="mod">
          <ac:chgData name="Mandal, Siddharth SBOBNG-PTIY/TGC" userId="a67a7350-e8c6-480c-af9b-c69106fe7e62" providerId="ADAL" clId="{35272455-35EC-8D4E-9BAF-7A7973F0EEE8}" dt="2024-09-06T10:45:27.094" v="230" actId="12"/>
          <ac:spMkLst>
            <pc:docMk/>
            <pc:sldMk cId="3987749037" sldId="2147375620"/>
            <ac:spMk id="11" creationId="{72B88559-E849-2382-5842-A000E45FA128}"/>
          </ac:spMkLst>
        </pc:spChg>
      </pc:sldChg>
      <pc:sldChg chg="modSp add mod">
        <pc:chgData name="Mandal, Siddharth SBOBNG-PTIY/TGC" userId="a67a7350-e8c6-480c-af9b-c69106fe7e62" providerId="ADAL" clId="{35272455-35EC-8D4E-9BAF-7A7973F0EEE8}" dt="2024-09-06T10:46:10.332" v="237" actId="12"/>
        <pc:sldMkLst>
          <pc:docMk/>
          <pc:sldMk cId="3883496751" sldId="2147375621"/>
        </pc:sldMkLst>
        <pc:spChg chg="mod">
          <ac:chgData name="Mandal, Siddharth SBOBNG-PTIY/TGC" userId="a67a7350-e8c6-480c-af9b-c69106fe7e62" providerId="ADAL" clId="{35272455-35EC-8D4E-9BAF-7A7973F0EEE8}" dt="2024-09-06T10:46:10.332" v="237" actId="12"/>
          <ac:spMkLst>
            <pc:docMk/>
            <pc:sldMk cId="3883496751" sldId="2147375621"/>
            <ac:spMk id="11" creationId="{7AD4E2BC-2390-296C-B4A4-999F2FC17EB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3.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3.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3.emf"/></Relationships>
</file>

<file path=ppt/slides/_rels/slide1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3.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3.emf"/></Relationships>
</file>

<file path=ppt/slides/_rels/slide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3.emf"/></Relationships>
</file>

<file path=ppt/slides/_rels/slide2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3.emf"/></Relationships>
</file>

<file path=ppt/slides/_rels/slide23.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3.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4.jp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4.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4.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iddharth Mand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3E9A1B-C897-6ED6-4BB9-050D12948DC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299EBB-E18D-4AD7-B78D-5B6EA92693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9C299EBB-E18D-4AD7-B78D-5B6EA92693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95EC4D2A-5B9F-2E63-4E53-28DD802A1889}"/>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D0DD3A80-5552-3C1E-4FA8-E4B0DF8481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DBMS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1A5F5AF2-9B18-6EF2-AC2D-BFCF4F1FC501}"/>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B14372-B15F-3B91-C1DD-C300CA6EE6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9DE1A541-2317-0F27-C712-1106F2E8E73A}"/>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dirty="0"/>
              <a:t>Introduction to DBMS:</a:t>
            </a:r>
          </a:p>
          <a:p>
            <a:r>
              <a:rPr lang="en-US" sz="1000" dirty="0"/>
              <a:t>Definition and overview of DBMS.</a:t>
            </a:r>
          </a:p>
          <a:p>
            <a:r>
              <a:rPr lang="en-US" sz="1000" dirty="0"/>
              <a:t>History and evolution of DBMS.</a:t>
            </a:r>
          </a:p>
          <a:p>
            <a:r>
              <a:rPr lang="en-US" sz="1000" dirty="0"/>
              <a:t>Comparison with traditional file systems.</a:t>
            </a:r>
          </a:p>
          <a:p>
            <a:pPr marL="0" indent="0">
              <a:buFont typeface="Arial" panose="020B0604020202020204" pitchFamily="34" charset="0"/>
              <a:buNone/>
            </a:pPr>
            <a:r>
              <a:rPr lang="en-US" sz="1000" dirty="0"/>
              <a:t>Types of DBMS:</a:t>
            </a:r>
          </a:p>
          <a:p>
            <a:r>
              <a:rPr lang="en-US" sz="1000" dirty="0"/>
              <a:t>Hierarchical DBMS.</a:t>
            </a:r>
          </a:p>
          <a:p>
            <a:r>
              <a:rPr lang="en-US" sz="1000" dirty="0"/>
              <a:t>Network DBMS.</a:t>
            </a:r>
          </a:p>
          <a:p>
            <a:r>
              <a:rPr lang="en-US" sz="1000" dirty="0"/>
              <a:t>Relational DBMS (RDBMS).</a:t>
            </a:r>
          </a:p>
          <a:p>
            <a:r>
              <a:rPr lang="en-US" sz="1000" dirty="0"/>
              <a:t>NoSQL DBMS.</a:t>
            </a:r>
          </a:p>
          <a:p>
            <a:pPr marL="0" indent="0">
              <a:buFont typeface="Arial" panose="020B0604020202020204" pitchFamily="34" charset="0"/>
              <a:buNone/>
            </a:pPr>
            <a:r>
              <a:rPr lang="en-US" sz="1000" dirty="0"/>
              <a:t>Components of DBMS:</a:t>
            </a:r>
          </a:p>
          <a:p>
            <a:r>
              <a:rPr lang="en-US" sz="1000" dirty="0"/>
              <a:t>Database Engine.</a:t>
            </a:r>
          </a:p>
          <a:p>
            <a:r>
              <a:rPr lang="en-US" sz="1000" dirty="0"/>
              <a:t>Database Schema.</a:t>
            </a:r>
          </a:p>
          <a:p>
            <a:r>
              <a:rPr lang="en-US" sz="1000" dirty="0"/>
              <a:t>Query Processor.</a:t>
            </a:r>
          </a:p>
          <a:p>
            <a:r>
              <a:rPr lang="en-US" sz="1000" dirty="0"/>
              <a:t>Transaction Management.</a:t>
            </a:r>
          </a:p>
          <a:p>
            <a:r>
              <a:rPr lang="en-US" sz="1000" dirty="0"/>
              <a:t>Storage Management.</a:t>
            </a:r>
          </a:p>
        </p:txBody>
      </p:sp>
      <p:sp>
        <p:nvSpPr>
          <p:cNvPr id="12" name="Content Placeholder 3">
            <a:extLst>
              <a:ext uri="{FF2B5EF4-FFF2-40B4-BE49-F238E27FC236}">
                <a16:creationId xmlns:a16="http://schemas.microsoft.com/office/drawing/2014/main" id="{6B71754A-8F84-3446-2B5F-3F75A0B28AAF}"/>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software company&#10;&#10;Description automatically generated">
            <a:extLst>
              <a:ext uri="{FF2B5EF4-FFF2-40B4-BE49-F238E27FC236}">
                <a16:creationId xmlns:a16="http://schemas.microsoft.com/office/drawing/2014/main" id="{CE1682D6-233A-FE0A-4BF7-1558D2BC86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51534" y="2200062"/>
            <a:ext cx="4049235" cy="3398102"/>
          </a:xfrm>
          <a:prstGeom prst="rect">
            <a:avLst/>
          </a:prstGeom>
        </p:spPr>
      </p:pic>
    </p:spTree>
    <p:extLst>
      <p:ext uri="{BB962C8B-B14F-4D97-AF65-F5344CB8AC3E}">
        <p14:creationId xmlns:p14="http://schemas.microsoft.com/office/powerpoint/2010/main" val="15408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D9135-4418-2484-BA1B-30E356C5914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54041B-01FE-2347-7A4B-4F602A525B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C354041B-01FE-2347-7A4B-4F602A525B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927448B-2B31-C010-A5BF-3E00D7E10894}"/>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2067D8D0-DF08-7F9C-2773-946DB5CA2910}"/>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DBMS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E4A35B70-88DB-1C2C-0447-72CEA0DC1DB3}"/>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9" name="Graphic 8" descr="Idea outline">
            <a:extLst>
              <a:ext uri="{FF2B5EF4-FFF2-40B4-BE49-F238E27FC236}">
                <a16:creationId xmlns:a16="http://schemas.microsoft.com/office/drawing/2014/main" id="{9FB146D7-E989-E9C1-7CDF-CCDF040E0C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72B88559-E849-2382-5842-A000E45FA128}"/>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dirty="0"/>
              <a:t>DBMS Architecture:</a:t>
            </a:r>
          </a:p>
          <a:p>
            <a:r>
              <a:rPr lang="en-US" sz="1000" dirty="0"/>
              <a:t>Single-tier architecture.</a:t>
            </a:r>
          </a:p>
          <a:p>
            <a:r>
              <a:rPr lang="en-US" sz="1000" dirty="0"/>
              <a:t>Two-tier architecture.</a:t>
            </a:r>
          </a:p>
          <a:p>
            <a:r>
              <a:rPr lang="en-US" sz="1000" dirty="0"/>
              <a:t>Three-tier architecture.</a:t>
            </a:r>
          </a:p>
          <a:p>
            <a:r>
              <a:rPr lang="en-US" sz="1000" dirty="0"/>
              <a:t>Client-server architecture.</a:t>
            </a:r>
          </a:p>
          <a:p>
            <a:pPr marL="0" indent="0">
              <a:buFont typeface="Arial" panose="020B0604020202020204" pitchFamily="34" charset="0"/>
              <a:buNone/>
            </a:pPr>
            <a:r>
              <a:rPr lang="en-US" sz="1000" dirty="0"/>
              <a:t>Data Models:</a:t>
            </a:r>
          </a:p>
          <a:p>
            <a:r>
              <a:rPr lang="en-US" sz="1000" dirty="0"/>
              <a:t>Hierarchical data model.</a:t>
            </a:r>
          </a:p>
          <a:p>
            <a:r>
              <a:rPr lang="en-US" sz="1000" dirty="0"/>
              <a:t>Network data model.</a:t>
            </a:r>
          </a:p>
          <a:p>
            <a:r>
              <a:rPr lang="en-US" sz="1000" dirty="0"/>
              <a:t>Relational data model.</a:t>
            </a:r>
          </a:p>
          <a:p>
            <a:r>
              <a:rPr lang="en-US" sz="1000" dirty="0"/>
              <a:t>Entity-relationship model.</a:t>
            </a:r>
          </a:p>
          <a:p>
            <a:r>
              <a:rPr lang="en-US" sz="1000" dirty="0"/>
              <a:t>Object-oriented data model.</a:t>
            </a:r>
          </a:p>
          <a:p>
            <a:pPr marL="0" indent="0">
              <a:buFont typeface="Arial" panose="020B0604020202020204" pitchFamily="34" charset="0"/>
              <a:buNone/>
            </a:pPr>
            <a:r>
              <a:rPr lang="en-US" sz="1000" dirty="0"/>
              <a:t>SQL and Query Languages:</a:t>
            </a:r>
          </a:p>
          <a:p>
            <a:r>
              <a:rPr lang="en-US" sz="1000" dirty="0"/>
              <a:t>Introduction to SQL (Structured Query Language).</a:t>
            </a:r>
          </a:p>
          <a:p>
            <a:r>
              <a:rPr lang="en-US" sz="1000" dirty="0"/>
              <a:t>Basic SQL commands (SELECT, INSERT, UPDATE, DELETE).</a:t>
            </a:r>
          </a:p>
          <a:p>
            <a:r>
              <a:rPr lang="en-US" sz="1000" dirty="0"/>
              <a:t>Advanced SQL features (joins, subqueries, triggers).</a:t>
            </a:r>
          </a:p>
        </p:txBody>
      </p:sp>
      <p:sp>
        <p:nvSpPr>
          <p:cNvPr id="12" name="Content Placeholder 3">
            <a:extLst>
              <a:ext uri="{FF2B5EF4-FFF2-40B4-BE49-F238E27FC236}">
                <a16:creationId xmlns:a16="http://schemas.microsoft.com/office/drawing/2014/main" id="{7A424306-E6BE-8C7C-6277-D93E7C53A332}"/>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software company&#10;&#10;Description automatically generated">
            <a:extLst>
              <a:ext uri="{FF2B5EF4-FFF2-40B4-BE49-F238E27FC236}">
                <a16:creationId xmlns:a16="http://schemas.microsoft.com/office/drawing/2014/main" id="{26C9B805-745D-DE43-449F-2027CDA335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51534" y="2200062"/>
            <a:ext cx="4049235" cy="3398102"/>
          </a:xfrm>
          <a:prstGeom prst="rect">
            <a:avLst/>
          </a:prstGeom>
        </p:spPr>
      </p:pic>
    </p:spTree>
    <p:extLst>
      <p:ext uri="{BB962C8B-B14F-4D97-AF65-F5344CB8AC3E}">
        <p14:creationId xmlns:p14="http://schemas.microsoft.com/office/powerpoint/2010/main" val="3987749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4B0DC-4D19-ECBD-CF33-5E2D3EE3048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E031357-6924-22B3-B753-5CAA695190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AE031357-6924-22B3-B753-5CAA695190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992ADD7A-89A7-05E2-CD44-EC7A678AB61B}"/>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16CBBD31-0EF6-9DDA-3896-56BFC5F14D57}"/>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DBMS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A99A151F-C5FC-F102-405B-DC2C8D14CD81}"/>
              </a:ext>
            </a:extLst>
          </p:cNvPr>
          <p:cNvSpPr>
            <a:spLocks noGrp="1"/>
          </p:cNvSpPr>
          <p:nvPr>
            <p:ph type="sldNum" sz="quarter" idx="15"/>
          </p:nvPr>
        </p:nvSpPr>
        <p:spPr/>
        <p:txBody>
          <a:bodyPr/>
          <a:lstStyle/>
          <a:p>
            <a:fld id="{0879F475-59B1-4993-848A-C2B683DE9AF5}" type="slidenum">
              <a:rPr lang="en-IN" smtClean="0"/>
              <a:pPr/>
              <a:t>12</a:t>
            </a:fld>
            <a:endParaRPr lang="en-IN" dirty="0"/>
          </a:p>
        </p:txBody>
      </p:sp>
      <p:pic>
        <p:nvPicPr>
          <p:cNvPr id="9" name="Graphic 8" descr="Idea outline">
            <a:extLst>
              <a:ext uri="{FF2B5EF4-FFF2-40B4-BE49-F238E27FC236}">
                <a16:creationId xmlns:a16="http://schemas.microsoft.com/office/drawing/2014/main" id="{1AD7EAD9-0B19-FF84-766D-1751BC87E5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7AD4E2BC-2390-296C-B4A4-999F2FC17EB2}"/>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dirty="0"/>
              <a:t>Database Design:</a:t>
            </a:r>
          </a:p>
          <a:p>
            <a:r>
              <a:rPr lang="en-US" sz="1000" dirty="0"/>
              <a:t>Normalization and denormalization.</a:t>
            </a:r>
          </a:p>
          <a:p>
            <a:r>
              <a:rPr lang="en-US" sz="1000" dirty="0"/>
              <a:t>Entity-Relationship (ER) diagrams.</a:t>
            </a:r>
          </a:p>
          <a:p>
            <a:r>
              <a:rPr lang="en-US" sz="1000" dirty="0"/>
              <a:t>Indexing and performance optimization.</a:t>
            </a:r>
          </a:p>
          <a:p>
            <a:pPr marL="0" indent="0">
              <a:buFont typeface="Arial" panose="020B0604020202020204" pitchFamily="34" charset="0"/>
              <a:buNone/>
            </a:pPr>
            <a:r>
              <a:rPr lang="en-US" sz="1000" dirty="0"/>
              <a:t>Transaction Management:</a:t>
            </a:r>
          </a:p>
          <a:p>
            <a:r>
              <a:rPr lang="en-US" sz="1000" dirty="0"/>
              <a:t>ACID properties (Atomicity, Consistency, Isolation, Durability).</a:t>
            </a:r>
          </a:p>
          <a:p>
            <a:r>
              <a:rPr lang="en-US" sz="1000" dirty="0"/>
              <a:t>Concurrency control.</a:t>
            </a:r>
          </a:p>
          <a:p>
            <a:r>
              <a:rPr lang="en-US" sz="1000" dirty="0"/>
              <a:t>Locking mechanisms.</a:t>
            </a:r>
          </a:p>
          <a:p>
            <a:pPr marL="0" indent="0">
              <a:buFont typeface="Arial" panose="020B0604020202020204" pitchFamily="34" charset="0"/>
              <a:buNone/>
            </a:pPr>
            <a:r>
              <a:rPr lang="en-US" sz="1000" dirty="0"/>
              <a:t>Security in DBMS:</a:t>
            </a:r>
          </a:p>
          <a:p>
            <a:r>
              <a:rPr lang="en-US" sz="1000" dirty="0"/>
              <a:t>Authentication and authorization.</a:t>
            </a:r>
          </a:p>
          <a:p>
            <a:r>
              <a:rPr lang="en-US" sz="1000" dirty="0"/>
              <a:t>Role-based access control.</a:t>
            </a:r>
          </a:p>
          <a:p>
            <a:r>
              <a:rPr lang="en-US" sz="1000" dirty="0"/>
              <a:t>Data encryption and integrity.</a:t>
            </a:r>
          </a:p>
        </p:txBody>
      </p:sp>
      <p:sp>
        <p:nvSpPr>
          <p:cNvPr id="12" name="Content Placeholder 3">
            <a:extLst>
              <a:ext uri="{FF2B5EF4-FFF2-40B4-BE49-F238E27FC236}">
                <a16:creationId xmlns:a16="http://schemas.microsoft.com/office/drawing/2014/main" id="{44077628-4B67-F6BD-6082-1E3AE780ABC4}"/>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software company&#10;&#10;Description automatically generated">
            <a:extLst>
              <a:ext uri="{FF2B5EF4-FFF2-40B4-BE49-F238E27FC236}">
                <a16:creationId xmlns:a16="http://schemas.microsoft.com/office/drawing/2014/main" id="{932258FE-33AC-FA4E-88B2-327DFEB5E9E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51534" y="2200062"/>
            <a:ext cx="4049235" cy="3398102"/>
          </a:xfrm>
          <a:prstGeom prst="rect">
            <a:avLst/>
          </a:prstGeom>
        </p:spPr>
      </p:pic>
    </p:spTree>
    <p:extLst>
      <p:ext uri="{BB962C8B-B14F-4D97-AF65-F5344CB8AC3E}">
        <p14:creationId xmlns:p14="http://schemas.microsoft.com/office/powerpoint/2010/main" val="38834967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Agile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266786" y="1670620"/>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Enhanced Flexibility and Speed:</a:t>
            </a:r>
          </a:p>
          <a:p>
            <a:pPr marL="0" indent="0">
              <a:buNone/>
            </a:pPr>
            <a:r>
              <a:rPr lang="en-US" sz="1200" dirty="0"/>
              <a:t>Shell uses Agile to increase flexibility and speed in project delivery. By breaking projects into smaller, manageable iterations, they can adapt quickly to changes and deliver results faster.</a:t>
            </a:r>
          </a:p>
          <a:p>
            <a:pPr marL="0" indent="0">
              <a:buNone/>
            </a:pPr>
            <a:r>
              <a:rPr lang="en-US" sz="1200" dirty="0"/>
              <a:t>Improved Collaboration:</a:t>
            </a:r>
          </a:p>
          <a:p>
            <a:pPr marL="0" indent="0">
              <a:buNone/>
            </a:pPr>
            <a:r>
              <a:rPr lang="en-US" sz="1200" dirty="0"/>
              <a:t>Agile promotes better collaboration between teams. At Shell, this has led to more effective communication and teamwork, which is crucial for complex projects.</a:t>
            </a:r>
          </a:p>
          <a:p>
            <a:pPr marL="0" indent="0">
              <a:buNone/>
            </a:pPr>
            <a:r>
              <a:rPr lang="en-US" sz="1200" dirty="0"/>
              <a:t>Cost Efficiency:</a:t>
            </a:r>
          </a:p>
          <a:p>
            <a:pPr marL="0" indent="0">
              <a:buNone/>
            </a:pPr>
            <a:r>
              <a:rPr lang="en-US" sz="1200" dirty="0"/>
              <a:t>Implementing Agile practices has helped Shell reduce costs by streamlining processes and eliminating inefficiencies. This is particularly important in the energy sector, where cost management is critical.</a:t>
            </a:r>
          </a:p>
          <a:p>
            <a:pPr marL="0" indent="0">
              <a:buNone/>
            </a:pPr>
            <a:r>
              <a:rPr lang="en-US" sz="1200" dirty="0"/>
              <a:t>Innovation and Continuous Improvement:</a:t>
            </a:r>
          </a:p>
          <a:p>
            <a:pPr marL="0" indent="0">
              <a:buNone/>
            </a:pPr>
            <a:r>
              <a:rPr lang="en-US" sz="1200" dirty="0"/>
              <a:t>Agile encourages continuous improvement and innovation. Shell has leveraged this to stay competitive and drive technological advancements in their operation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a:t>
            </a:r>
            <a:r>
              <a:rPr lang="en-US" b="1" dirty="0" err="1">
                <a:effectLst>
                  <a:outerShdw blurRad="38100" dist="38100" dir="2700000" algn="tl">
                    <a:srgbClr val="000000">
                      <a:alpha val="43137"/>
                    </a:srgbClr>
                  </a:outerShdw>
                </a:effectLst>
                <a:latin typeface="+mn-lt"/>
                <a:cs typeface="+mj-cs"/>
              </a:rPr>
              <a:t>Devops</a:t>
            </a:r>
            <a:r>
              <a:rPr lang="en-US" b="1" dirty="0">
                <a:effectLst>
                  <a:outerShdw blurRad="38100" dist="38100" dir="2700000" algn="tl">
                    <a:srgbClr val="000000">
                      <a:alpha val="43137"/>
                    </a:srgbClr>
                  </a:outerShdw>
                </a:effectLst>
                <a:latin typeface="+mn-lt"/>
                <a:cs typeface="+mj-cs"/>
              </a:rPr>
              <a:t>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266786" y="1750867"/>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Automation and Efficiency:</a:t>
            </a:r>
          </a:p>
          <a:p>
            <a:pPr marL="0" indent="0">
              <a:buNone/>
            </a:pPr>
            <a:r>
              <a:rPr lang="en-US" sz="1200" dirty="0"/>
              <a:t>DevOps practices have enabled Shell to automate repetitive tasks, streamline workflows, and improve overall efficiency. This includes automating software builds, deployments, and testing processes.</a:t>
            </a:r>
          </a:p>
          <a:p>
            <a:pPr marL="0" indent="0">
              <a:buNone/>
            </a:pPr>
            <a:r>
              <a:rPr lang="en-US" sz="1200" dirty="0"/>
              <a:t>Improved Collaboration:</a:t>
            </a:r>
          </a:p>
          <a:p>
            <a:pPr marL="0" indent="0">
              <a:buNone/>
            </a:pPr>
            <a:r>
              <a:rPr lang="en-US" sz="1200" dirty="0"/>
              <a:t>By fostering a culture of collaboration between development and operations teams, DevOps has helped Shell enhance communication and teamwork, leading to more cohesive and efficient project execution.</a:t>
            </a:r>
          </a:p>
          <a:p>
            <a:pPr marL="0" indent="0">
              <a:buNone/>
            </a:pPr>
            <a:r>
              <a:rPr lang="en-US" sz="1200" dirty="0"/>
              <a:t>Faster Time to Market:</a:t>
            </a:r>
          </a:p>
          <a:p>
            <a:pPr marL="0" indent="0">
              <a:buNone/>
            </a:pPr>
            <a:r>
              <a:rPr lang="en-US" sz="1200" dirty="0"/>
              <a:t>DevOps practices, such as Continuous Integration (CI) and Continuous Deployment (CD), have allowed Shell to reduce the time it takes to bring new features and products to market. This agility is crucial in the competitive energy sector.</a:t>
            </a:r>
          </a:p>
          <a:p>
            <a:pPr marL="0" indent="0">
              <a:buNone/>
            </a:pPr>
            <a:r>
              <a:rPr lang="en-US" sz="1200" dirty="0"/>
              <a:t>Enhanced Reliability and Stability:</a:t>
            </a:r>
          </a:p>
          <a:p>
            <a:pPr marL="0" indent="0">
              <a:buNone/>
            </a:pPr>
            <a:r>
              <a:rPr lang="en-US" sz="1200" dirty="0"/>
              <a:t>Through continuous monitoring and automated testing, DevOps has improved the reliability and stability of Shell’s IT systems. This ensures that services are consistently available and performant.</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a:t>
            </a:r>
            <a:r>
              <a:rPr lang="en-US" b="1" dirty="0" err="1">
                <a:effectLst>
                  <a:outerShdw blurRad="38100" dist="38100" dir="2700000" algn="tl">
                    <a:srgbClr val="000000">
                      <a:alpha val="43137"/>
                    </a:srgbClr>
                  </a:outerShdw>
                </a:effectLst>
                <a:latin typeface="+mn-lt"/>
                <a:cs typeface="+mj-cs"/>
              </a:rPr>
              <a:t>postgresql</a:t>
            </a:r>
            <a:r>
              <a:rPr lang="en-US" b="1" dirty="0">
                <a:effectLst>
                  <a:outerShdw blurRad="38100" dist="38100" dir="2700000" algn="tl">
                    <a:srgbClr val="000000">
                      <a:alpha val="43137"/>
                    </a:srgbClr>
                  </a:outerShdw>
                </a:effectLst>
                <a:latin typeface="+mn-lt"/>
                <a:cs typeface="+mj-cs"/>
              </a:rPr>
              <a:t>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266786"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Robust Data Management:</a:t>
            </a:r>
          </a:p>
          <a:p>
            <a:pPr marL="0" indent="0">
              <a:buNone/>
            </a:pPr>
            <a:r>
              <a:rPr lang="en-US" sz="1200" dirty="0"/>
              <a:t>PostgreSQL provides a reliable and robust platform for managing large volumes of data, which is crucial for Shell’s complex operations and data-intensive processes.</a:t>
            </a:r>
          </a:p>
          <a:p>
            <a:pPr marL="0" indent="0">
              <a:buNone/>
            </a:pPr>
            <a:r>
              <a:rPr lang="en-US" sz="1200" dirty="0"/>
              <a:t>Advanced Features:</a:t>
            </a:r>
          </a:p>
          <a:p>
            <a:pPr marL="0" indent="0">
              <a:buNone/>
            </a:pPr>
            <a:r>
              <a:rPr lang="en-US" sz="1200" dirty="0"/>
              <a:t>With support for advanced data types, full-text search, and powerful indexing, PostgreSQL allows Shell to handle diverse and complex data requirements efficiently.</a:t>
            </a:r>
          </a:p>
          <a:p>
            <a:pPr marL="0" indent="0">
              <a:buNone/>
            </a:pPr>
            <a:r>
              <a:rPr lang="en-US" sz="1200" dirty="0"/>
              <a:t>Scalability:</a:t>
            </a:r>
          </a:p>
          <a:p>
            <a:pPr marL="0" indent="0">
              <a:buNone/>
            </a:pPr>
            <a:r>
              <a:rPr lang="en-US" sz="1200" dirty="0"/>
              <a:t>PostgreSQL’s ability to scale both vertically and horizontally makes it suitable for Shell’s growing data needs. This ensures that the database can handle increased loads without compromising performance.</a:t>
            </a:r>
          </a:p>
          <a:p>
            <a:pPr marL="0" indent="0">
              <a:buNone/>
            </a:pPr>
            <a:r>
              <a:rPr lang="en-US" sz="1200" dirty="0"/>
              <a:t>Extensibility:</a:t>
            </a:r>
          </a:p>
          <a:p>
            <a:pPr marL="0" indent="0">
              <a:buNone/>
            </a:pPr>
            <a:r>
              <a:rPr lang="en-US" sz="1200" dirty="0"/>
              <a:t>PostgreSQL’s extensibility allows Shell to customize the database to meet specific needs. This includes creating custom functions, data types, and operators, which can enhance the functionality of their application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agile</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266786" y="1670620"/>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Understanding Agile Principles:</a:t>
            </a:r>
          </a:p>
          <a:p>
            <a:pPr marL="0" indent="0">
              <a:buNone/>
            </a:pPr>
            <a:r>
              <a:rPr lang="en-US" sz="1200" dirty="0"/>
              <a:t>Grasping the core principles and values of Agile, such as customer collaboration, responding to change, and delivering working software frequently, can take time and practice.</a:t>
            </a:r>
          </a:p>
          <a:p>
            <a:pPr marL="0" indent="0">
              <a:buNone/>
            </a:pPr>
            <a:r>
              <a:rPr lang="en-US" sz="1200" dirty="0"/>
              <a:t>Adapting to New Roles:</a:t>
            </a:r>
          </a:p>
          <a:p>
            <a:pPr marL="0" indent="0">
              <a:buNone/>
            </a:pPr>
            <a:r>
              <a:rPr lang="en-US" sz="1200" dirty="0"/>
              <a:t>Agile introduces new roles like Scrum Master, Product Owner, and Development Team members. Understanding and adapting to these roles can be challenging.</a:t>
            </a:r>
          </a:p>
          <a:p>
            <a:pPr marL="0" indent="0">
              <a:buNone/>
            </a:pPr>
            <a:r>
              <a:rPr lang="en-US" sz="1200" dirty="0"/>
              <a:t>Learning New Practices:</a:t>
            </a:r>
          </a:p>
          <a:p>
            <a:pPr marL="0" indent="0">
              <a:buNone/>
            </a:pPr>
            <a:r>
              <a:rPr lang="en-US" sz="1200" dirty="0"/>
              <a:t>Agile involves various practices like daily stand-ups, sprint planning, retrospectives, and continuous integration. Mastering these practices requires time and effort.</a:t>
            </a:r>
          </a:p>
          <a:p>
            <a:pPr marL="0" indent="0">
              <a:buNone/>
            </a:pPr>
            <a:r>
              <a:rPr lang="en-US" sz="1200" dirty="0"/>
              <a:t>Balancing Flexibility and Discipline:</a:t>
            </a:r>
          </a:p>
          <a:p>
            <a:pPr marL="0" indent="0">
              <a:buNone/>
            </a:pPr>
            <a:r>
              <a:rPr lang="en-US" sz="1200" dirty="0"/>
              <a:t>Agile promotes flexibility, but it also requires discipline to follow processes and maintain consistency. Striking the right balance can be difficult.</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a:t>
            </a:r>
            <a:r>
              <a:rPr lang="en-US" b="1" dirty="0" err="1">
                <a:effectLst>
                  <a:outerShdw blurRad="38100" dist="38100" dir="2700000" algn="tl">
                    <a:srgbClr val="000000">
                      <a:alpha val="43137"/>
                    </a:srgbClr>
                  </a:outerShdw>
                </a:effectLst>
                <a:latin typeface="+mn-lt"/>
                <a:cs typeface="+mj-cs"/>
              </a:rPr>
              <a:t>devop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202020" y="1852681"/>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Skill Set:</a:t>
            </a:r>
          </a:p>
          <a:p>
            <a:pPr marL="0" indent="0">
              <a:buNone/>
            </a:pPr>
            <a:r>
              <a:rPr lang="en-US" sz="1200" dirty="0"/>
              <a:t>DevOps demands a broad skill set, including knowledge of coding, scripting, automation tools, and infrastructure management. Acquiring and mastering these skills can be time-consuming.</a:t>
            </a:r>
          </a:p>
          <a:p>
            <a:pPr marL="0" indent="0">
              <a:buNone/>
            </a:pPr>
            <a:r>
              <a:rPr lang="en-US" sz="1200" dirty="0"/>
              <a:t>Tool Integration:</a:t>
            </a:r>
          </a:p>
          <a:p>
            <a:pPr marL="0" indent="0">
              <a:buNone/>
            </a:pPr>
            <a:r>
              <a:rPr lang="en-US" sz="1200" dirty="0"/>
              <a:t>DevOps involves using various tools for continuous integration, continuous deployment, monitoring, and more. Integrating these tools into a seamless workflow can be complex.</a:t>
            </a:r>
          </a:p>
          <a:p>
            <a:pPr marL="0" indent="0">
              <a:buNone/>
            </a:pPr>
            <a:r>
              <a:rPr lang="en-US" sz="1200" dirty="0"/>
              <a:t>Automation:</a:t>
            </a:r>
          </a:p>
          <a:p>
            <a:pPr marL="0" indent="0">
              <a:buNone/>
            </a:pPr>
            <a:r>
              <a:rPr lang="en-US" sz="1200" dirty="0"/>
              <a:t>Automating processes like testing, deployment, and monitoring is a core aspect of DevOps. Setting up and maintaining automation pipelines requires expertise and can be challenging.</a:t>
            </a:r>
          </a:p>
          <a:p>
            <a:pPr marL="0" indent="0">
              <a:buNone/>
            </a:pPr>
            <a:r>
              <a:rPr lang="en-US" sz="1200" dirty="0"/>
              <a:t>Security:</a:t>
            </a:r>
          </a:p>
          <a:p>
            <a:pPr marL="0" indent="0">
              <a:buNone/>
            </a:pPr>
            <a:r>
              <a:rPr lang="en-US" sz="1200" dirty="0"/>
              <a:t>Ensuring security in a DevOps environment, especially with automated processes, can be tricky. Implementing </a:t>
            </a:r>
            <a:r>
              <a:rPr lang="en-US" sz="1200" dirty="0" err="1"/>
              <a:t>DevSecOps</a:t>
            </a:r>
            <a:r>
              <a:rPr lang="en-US" sz="1200" dirty="0"/>
              <a:t> practices to integrate security into the DevOps pipeline is essential but challenging.</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a:t>
            </a:r>
            <a:r>
              <a:rPr lang="en-US" b="1" dirty="0" err="1">
                <a:effectLst>
                  <a:outerShdw blurRad="38100" dist="38100" dir="2700000" algn="tl">
                    <a:srgbClr val="000000">
                      <a:alpha val="43137"/>
                    </a:srgbClr>
                  </a:outerShdw>
                </a:effectLst>
                <a:latin typeface="+mn-lt"/>
                <a:cs typeface="+mj-cs"/>
              </a:rPr>
              <a:t>postgresq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266786" y="1819430"/>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Performance Tuning:</a:t>
            </a:r>
          </a:p>
          <a:p>
            <a:pPr marL="0" indent="0">
              <a:buNone/>
            </a:pPr>
            <a:r>
              <a:rPr lang="en-US" sz="1200" dirty="0"/>
              <a:t>Optimizing PostgreSQL for performance can be challenging. It involves configuring various parameters, indexing strategies, and query optimization techniques.</a:t>
            </a:r>
          </a:p>
          <a:p>
            <a:pPr marL="0" indent="0">
              <a:buNone/>
            </a:pPr>
            <a:r>
              <a:rPr lang="en-US" sz="1200" dirty="0"/>
              <a:t>Replication and High Availability:</a:t>
            </a:r>
          </a:p>
          <a:p>
            <a:pPr marL="0" indent="0">
              <a:buNone/>
            </a:pPr>
            <a:r>
              <a:rPr lang="en-US" sz="1200" dirty="0"/>
              <a:t>Setting up and managing replication and high availability solutions can be complex. Ensuring data consistency and failover mechanisms requires careful planning and execution.</a:t>
            </a:r>
          </a:p>
          <a:p>
            <a:pPr marL="0" indent="0">
              <a:buNone/>
            </a:pPr>
            <a:r>
              <a:rPr lang="en-US" sz="1200" dirty="0"/>
              <a:t>Backup and Recovery:</a:t>
            </a:r>
          </a:p>
          <a:p>
            <a:pPr marL="0" indent="0">
              <a:buNone/>
            </a:pPr>
            <a:r>
              <a:rPr lang="en-US" sz="1200" dirty="0"/>
              <a:t>Implementing effective backup and recovery strategies is crucial but can be difficult. Ensuring that backups are consistent and can be restored quickly is essential for data integrity.</a:t>
            </a:r>
          </a:p>
          <a:p>
            <a:pPr marL="0" indent="0">
              <a:buNone/>
            </a:pPr>
            <a:r>
              <a:rPr lang="en-US" sz="1200" dirty="0"/>
              <a:t>Security:</a:t>
            </a:r>
          </a:p>
          <a:p>
            <a:pPr marL="0" indent="0">
              <a:buNone/>
            </a:pPr>
            <a:r>
              <a:rPr lang="en-US" sz="1200" dirty="0"/>
              <a:t>Configuring PostgreSQL for robust security involves setting up authentication, authorization, and encryption. Keeping up with security best practices and updates is necessary but challenging.</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took one topic at a time and followed the hands on in the class and was very helpful for understanding the core of the technologi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Use the weekend to learn the concepts of agile and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in depth. Revise the concepts of DBM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ase study helped understand the concepts of agile, and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a lot. Only now DBMS revision is left.</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The case study was the most important thing this week. Complete hands on experience of agile, </a:t>
            </a:r>
            <a:r>
              <a:rPr lang="en-US" sz="2000" dirty="0" err="1"/>
              <a:t>devops</a:t>
            </a:r>
            <a:r>
              <a:rPr lang="en-US" sz="2000" dirty="0"/>
              <a:t>, ci/cd pipeline of </a:t>
            </a:r>
            <a:r>
              <a:rPr lang="en-US" sz="2000" dirty="0" err="1"/>
              <a:t>github</a:t>
            </a:r>
            <a:r>
              <a:rPr lang="en-US" sz="2000" dirty="0"/>
              <a:t> actions was the highlight of the week.</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diagram of a software development&#10;&#10;Description automatically generated with medium confidence">
            <a:extLst>
              <a:ext uri="{FF2B5EF4-FFF2-40B4-BE49-F238E27FC236}">
                <a16:creationId xmlns:a16="http://schemas.microsoft.com/office/drawing/2014/main" id="{C542FB1B-4CAB-E72C-6F6B-9637B95444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16724" y="3082194"/>
            <a:ext cx="4718858" cy="1628006"/>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err="1"/>
              <a:t>Devops</a:t>
            </a:r>
            <a:r>
              <a:rPr lang="en-US" sz="2000" dirty="0"/>
              <a:t>, Agile, DBMS, </a:t>
            </a:r>
            <a:r>
              <a:rPr lang="en-US" sz="2000" dirty="0" err="1"/>
              <a:t>Postgresql</a:t>
            </a:r>
            <a:r>
              <a:rPr lang="en-US" sz="2000" dirty="0"/>
              <a:t>, CI/CD pipeline, </a:t>
            </a:r>
            <a:r>
              <a:rPr lang="en-US" sz="2000" dirty="0" err="1"/>
              <a:t>github</a:t>
            </a:r>
            <a:r>
              <a:rPr lang="en-US" sz="2000" dirty="0"/>
              <a:t> actions. We learnt all of these technologies this week which will be very helpful for my upcoming projects and life of a software </a:t>
            </a:r>
            <a:r>
              <a:rPr lang="en-US" sz="2000"/>
              <a:t>engineer.</a:t>
            </a:r>
            <a:endParaRPr lang="en-US" sz="2000" dirty="0"/>
          </a:p>
        </p:txBody>
      </p:sp>
    </p:spTree>
    <p:extLst>
      <p:ext uri="{BB962C8B-B14F-4D97-AF65-F5344CB8AC3E}">
        <p14:creationId xmlns:p14="http://schemas.microsoft.com/office/powerpoint/2010/main" val="3865850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Agile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t>Introduction to Agile:</a:t>
            </a:r>
          </a:p>
          <a:p>
            <a:r>
              <a:rPr lang="en-US" sz="1400" dirty="0"/>
              <a:t>Definition of Agile methodology.</a:t>
            </a:r>
          </a:p>
          <a:p>
            <a:r>
              <a:rPr lang="en-US" sz="1400" dirty="0"/>
              <a:t>History and evolution of Agile.</a:t>
            </a:r>
          </a:p>
          <a:p>
            <a:r>
              <a:rPr lang="en-US" sz="1400" dirty="0"/>
              <a:t>Comparison with traditional project management methods (e.g., Waterfall).</a:t>
            </a:r>
          </a:p>
          <a:p>
            <a:pPr marL="0" indent="0">
              <a:buFont typeface="Arial" panose="020B0604020202020204" pitchFamily="34" charset="0"/>
              <a:buNone/>
            </a:pPr>
            <a:r>
              <a:rPr lang="en-US" sz="1400" dirty="0"/>
              <a:t>Agile Principles:</a:t>
            </a:r>
          </a:p>
          <a:p>
            <a:r>
              <a:rPr lang="en-US" sz="1400" dirty="0"/>
              <a:t>The 12 principles behind the Agile Manifesto.</a:t>
            </a:r>
          </a:p>
          <a:p>
            <a:r>
              <a:rPr lang="en-US" sz="1400" dirty="0"/>
              <a:t>Emphasis on customer collaboration, responding to change, and delivering working software frequently.</a:t>
            </a:r>
          </a:p>
          <a:p>
            <a:pPr marL="0" indent="0">
              <a:buFont typeface="Arial" panose="020B0604020202020204" pitchFamily="34" charset="0"/>
              <a:buNone/>
            </a:pPr>
            <a:r>
              <a:rPr lang="en-US" sz="1400" dirty="0"/>
              <a:t>Agile Frameworks:</a:t>
            </a:r>
          </a:p>
          <a:p>
            <a:r>
              <a:rPr lang="en-US" sz="1400" dirty="0"/>
              <a:t>Overview of popular Agile frameworks like Scrum, Kanban, and Extreme Programming (XP).</a:t>
            </a:r>
          </a:p>
          <a:p>
            <a:r>
              <a:rPr lang="en-US" sz="1400" dirty="0"/>
              <a:t>Key differences and when to use each framewor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descr="A diagram of a project management process&#10;&#10;Description automatically generated">
            <a:extLst>
              <a:ext uri="{FF2B5EF4-FFF2-40B4-BE49-F238E27FC236}">
                <a16:creationId xmlns:a16="http://schemas.microsoft.com/office/drawing/2014/main" id="{05009908-FDB1-AC05-1113-01AE4ADB65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09951" y="2768138"/>
            <a:ext cx="5132402" cy="2432544"/>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D94B4-BC35-CDAF-C75B-20797C9A2EF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DB8ECD7-42A4-72DB-0351-4FF0585762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8DB8ECD7-42A4-72DB-0351-4FF058576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84632CB-A22C-C37D-FABC-29F857549268}"/>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B653DA5E-0362-CE38-56BF-E10F72EEAC48}"/>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Agile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A880333C-A2D4-2DB9-9FB9-BDFDD3298CE9}"/>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47560D57-D146-CC57-F1D6-8297B539CF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3E52830D-A1D1-E545-C1B5-7A77AE4AF97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dirty="0"/>
              <a:t>Scrum Framework:</a:t>
            </a:r>
          </a:p>
          <a:p>
            <a:r>
              <a:rPr lang="en-US" sz="1200" dirty="0"/>
              <a:t>Roles: Product Owner, Scrum Master, Development Team.</a:t>
            </a:r>
          </a:p>
          <a:p>
            <a:r>
              <a:rPr lang="en-US" sz="1200" dirty="0"/>
              <a:t>Artifacts: Product Backlog, Sprint Backlog, Increment.</a:t>
            </a:r>
          </a:p>
          <a:p>
            <a:r>
              <a:rPr lang="en-US" sz="1200" dirty="0"/>
              <a:t>Events: Sprint Planning, Daily Stand-up, Sprint Review, Sprint Retrospective.</a:t>
            </a:r>
          </a:p>
          <a:p>
            <a:pPr marL="0" indent="0">
              <a:buFont typeface="Arial" panose="020B0604020202020204" pitchFamily="34" charset="0"/>
              <a:buNone/>
            </a:pPr>
            <a:r>
              <a:rPr lang="en-US" sz="1200" dirty="0"/>
              <a:t>Kanban Framework:</a:t>
            </a:r>
          </a:p>
          <a:p>
            <a:r>
              <a:rPr lang="en-US" sz="1200" dirty="0"/>
              <a:t>Principles of Kanban: Visualize work, limit work in progress, manage flow.</a:t>
            </a:r>
          </a:p>
          <a:p>
            <a:r>
              <a:rPr lang="en-US" sz="1200" dirty="0"/>
              <a:t>Kanban board and its components (To Do, In Progress, Done).</a:t>
            </a:r>
          </a:p>
          <a:p>
            <a:pPr marL="0" indent="0">
              <a:buFont typeface="Arial" panose="020B0604020202020204" pitchFamily="34" charset="0"/>
              <a:buNone/>
            </a:pPr>
            <a:r>
              <a:rPr lang="en-US" sz="1200" dirty="0"/>
              <a:t>Benefits of Agile:</a:t>
            </a:r>
          </a:p>
          <a:p>
            <a:r>
              <a:rPr lang="en-US" sz="1200" dirty="0"/>
              <a:t>Increased flexibility and adaptability.</a:t>
            </a:r>
          </a:p>
          <a:p>
            <a:r>
              <a:rPr lang="en-US" sz="1200" dirty="0"/>
              <a:t>Improved customer satisfaction.</a:t>
            </a:r>
          </a:p>
          <a:p>
            <a:r>
              <a:rPr lang="en-US" sz="1200" dirty="0"/>
              <a:t>Faster delivery of products.</a:t>
            </a:r>
          </a:p>
          <a:p>
            <a:r>
              <a:rPr lang="en-US" sz="1200" dirty="0"/>
              <a:t>Enhanced team collaboration and morale.</a:t>
            </a:r>
          </a:p>
        </p:txBody>
      </p:sp>
      <p:sp>
        <p:nvSpPr>
          <p:cNvPr id="12" name="Content Placeholder 3">
            <a:extLst>
              <a:ext uri="{FF2B5EF4-FFF2-40B4-BE49-F238E27FC236}">
                <a16:creationId xmlns:a16="http://schemas.microsoft.com/office/drawing/2014/main" id="{2017A278-3710-954F-7035-7CE7F924A82B}"/>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descr="A diagram of a project management process&#10;&#10;Description automatically generated">
            <a:extLst>
              <a:ext uri="{FF2B5EF4-FFF2-40B4-BE49-F238E27FC236}">
                <a16:creationId xmlns:a16="http://schemas.microsoft.com/office/drawing/2014/main" id="{F949598E-1A9D-0A2A-1F6B-4AE2B75DA5E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09951" y="2768138"/>
            <a:ext cx="5132402" cy="2432544"/>
          </a:xfrm>
          <a:prstGeom prst="rect">
            <a:avLst/>
          </a:prstGeom>
        </p:spPr>
      </p:pic>
    </p:spTree>
    <p:extLst>
      <p:ext uri="{BB962C8B-B14F-4D97-AF65-F5344CB8AC3E}">
        <p14:creationId xmlns:p14="http://schemas.microsoft.com/office/powerpoint/2010/main" val="2854361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212F5-00DC-BFDD-8FC5-503F3703FD5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B79C50-04F6-1DC0-6597-067C981D2C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83B79C50-04F6-1DC0-6597-067C981D2C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2A3ABFF-C551-224C-8CA4-26A40BF195F5}"/>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DFA5106D-6D85-AAC5-957A-3CF247FED43E}"/>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Agile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691EA8EB-22B6-E53E-6535-C5DA3DEEAF33}"/>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E96DC524-2122-7EEA-870B-71E5FEAF9B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B987551C-B3C5-3B6B-4306-3F4CA7E8B19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dirty="0"/>
              <a:t>Challenges of Agile:</a:t>
            </a:r>
          </a:p>
          <a:p>
            <a:r>
              <a:rPr lang="en-US" sz="1200" dirty="0"/>
              <a:t>Resistance to change.</a:t>
            </a:r>
          </a:p>
          <a:p>
            <a:r>
              <a:rPr lang="en-US" sz="1200" dirty="0"/>
              <a:t>Need for continuous stakeholder engagement.</a:t>
            </a:r>
          </a:p>
          <a:p>
            <a:r>
              <a:rPr lang="en-US" sz="1200" dirty="0"/>
              <a:t>Potential for scope creep.</a:t>
            </a:r>
          </a:p>
          <a:p>
            <a:pPr marL="0" indent="0">
              <a:buFont typeface="Arial" panose="020B0604020202020204" pitchFamily="34" charset="0"/>
              <a:buNone/>
            </a:pPr>
            <a:r>
              <a:rPr lang="en-US" sz="1200" dirty="0"/>
              <a:t>Agile Tools and Software:</a:t>
            </a:r>
          </a:p>
          <a:p>
            <a:r>
              <a:rPr lang="en-US" sz="1200" dirty="0"/>
              <a:t>Popular Agile tools like Jira, Trello, and Asana.</a:t>
            </a:r>
          </a:p>
          <a:p>
            <a:r>
              <a:rPr lang="en-US" sz="1200" dirty="0"/>
              <a:t>How these tools facilitate Agile practices.</a:t>
            </a:r>
          </a:p>
          <a:p>
            <a:pPr marL="0" indent="0">
              <a:buFont typeface="Arial" panose="020B0604020202020204" pitchFamily="34" charset="0"/>
              <a:buNone/>
            </a:pPr>
            <a:r>
              <a:rPr lang="en-US" sz="1200" dirty="0"/>
              <a:t>Case Studies:</a:t>
            </a:r>
          </a:p>
          <a:p>
            <a:r>
              <a:rPr lang="en-US" sz="1200" dirty="0"/>
              <a:t>Examples of successful Agile implementations in various industries.</a:t>
            </a:r>
          </a:p>
          <a:p>
            <a:r>
              <a:rPr lang="en-US" sz="1200" dirty="0"/>
              <a:t>Lessons learned from these case studies.</a:t>
            </a:r>
          </a:p>
          <a:p>
            <a:pPr marL="0" indent="0">
              <a:buFont typeface="Arial" panose="020B0604020202020204" pitchFamily="34" charset="0"/>
              <a:buNone/>
            </a:pPr>
            <a:r>
              <a:rPr lang="en-US" sz="1200" dirty="0"/>
              <a:t>Conclusion:</a:t>
            </a:r>
          </a:p>
          <a:p>
            <a:r>
              <a:rPr lang="en-US" sz="1200" dirty="0"/>
              <a:t>Recap of key points.</a:t>
            </a:r>
          </a:p>
          <a:p>
            <a:r>
              <a:rPr lang="en-US" sz="1200" dirty="0"/>
              <a:t>Future trends in Agile methodology.</a:t>
            </a:r>
          </a:p>
          <a:p>
            <a:r>
              <a:rPr lang="en-US" sz="1200" dirty="0"/>
              <a:t>Q&amp;A session.</a:t>
            </a:r>
          </a:p>
        </p:txBody>
      </p:sp>
      <p:sp>
        <p:nvSpPr>
          <p:cNvPr id="12" name="Content Placeholder 3">
            <a:extLst>
              <a:ext uri="{FF2B5EF4-FFF2-40B4-BE49-F238E27FC236}">
                <a16:creationId xmlns:a16="http://schemas.microsoft.com/office/drawing/2014/main" id="{1803C4ED-AA11-0070-8578-349C7E623F53}"/>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descr="A diagram of a project management process&#10;&#10;Description automatically generated">
            <a:extLst>
              <a:ext uri="{FF2B5EF4-FFF2-40B4-BE49-F238E27FC236}">
                <a16:creationId xmlns:a16="http://schemas.microsoft.com/office/drawing/2014/main" id="{5818471F-8FA5-1C47-7D58-3380268EB72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09951" y="2768138"/>
            <a:ext cx="5132402" cy="2432544"/>
          </a:xfrm>
          <a:prstGeom prst="rect">
            <a:avLst/>
          </a:prstGeom>
        </p:spPr>
      </p:pic>
    </p:spTree>
    <p:extLst>
      <p:ext uri="{BB962C8B-B14F-4D97-AF65-F5344CB8AC3E}">
        <p14:creationId xmlns:p14="http://schemas.microsoft.com/office/powerpoint/2010/main" val="11114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a:t>
            </a:r>
            <a:r>
              <a:rPr lang="en-US" b="1" dirty="0" err="1">
                <a:effectLst>
                  <a:outerShdw blurRad="38100" dist="38100" dir="2700000" algn="tl">
                    <a:srgbClr val="000000">
                      <a:alpha val="43137"/>
                    </a:srgbClr>
                  </a:outerShdw>
                </a:effectLst>
                <a:latin typeface="+mn-lt"/>
                <a:cs typeface="+mj-cs"/>
              </a:rPr>
              <a:t>devops</a:t>
            </a:r>
            <a:r>
              <a:rPr lang="en-US" b="1" dirty="0">
                <a:effectLst>
                  <a:outerShdw blurRad="38100" dist="38100" dir="2700000" algn="tl">
                    <a:srgbClr val="000000">
                      <a:alpha val="43137"/>
                    </a:srgbClr>
                  </a:outerShdw>
                </a:effectLst>
                <a:latin typeface="+mn-lt"/>
                <a:cs typeface="+mj-cs"/>
              </a:rPr>
              <a:t>|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dirty="0"/>
              <a:t>Introduction to DevOps:</a:t>
            </a:r>
          </a:p>
          <a:p>
            <a:r>
              <a:rPr lang="en-US" sz="1000" dirty="0"/>
              <a:t>Definition of DevOps.</a:t>
            </a:r>
          </a:p>
          <a:p>
            <a:r>
              <a:rPr lang="en-US" sz="1000" dirty="0"/>
              <a:t>History and evolution of DevOps.</a:t>
            </a:r>
          </a:p>
          <a:p>
            <a:r>
              <a:rPr lang="en-US" sz="1000" dirty="0"/>
              <a:t>Comparison with traditional IT operations and development practices.</a:t>
            </a:r>
          </a:p>
          <a:p>
            <a:pPr marL="0" indent="0">
              <a:buFont typeface="Arial" panose="020B0604020202020204" pitchFamily="34" charset="0"/>
              <a:buNone/>
            </a:pPr>
            <a:r>
              <a:rPr lang="en-US" sz="1000" dirty="0"/>
              <a:t>DevOps Principles:</a:t>
            </a:r>
          </a:p>
          <a:p>
            <a:r>
              <a:rPr lang="en-US" sz="1000" dirty="0"/>
              <a:t>The core principles of DevOps: Culture, Automation, Lean, Measurement, and Sharing (CALMS).</a:t>
            </a:r>
          </a:p>
          <a:p>
            <a:r>
              <a:rPr lang="en-US" sz="1000" dirty="0"/>
              <a:t>Emphasis on collaboration between development and operations teams.</a:t>
            </a:r>
          </a:p>
          <a:p>
            <a:pPr marL="0" indent="0">
              <a:buFont typeface="Arial" panose="020B0604020202020204" pitchFamily="34" charset="0"/>
              <a:buNone/>
            </a:pPr>
            <a:r>
              <a:rPr lang="en-US" sz="1000" dirty="0"/>
              <a:t>DevOps Practices:</a:t>
            </a:r>
          </a:p>
          <a:p>
            <a:r>
              <a:rPr lang="en-US" sz="1000" dirty="0"/>
              <a:t>Continuous Integration (CI) and Continuous Deployment (CD).</a:t>
            </a:r>
          </a:p>
          <a:p>
            <a:r>
              <a:rPr lang="en-US" sz="1000" dirty="0"/>
              <a:t>Infrastructure as Code (</a:t>
            </a:r>
            <a:r>
              <a:rPr lang="en-US" sz="1000" dirty="0" err="1"/>
              <a:t>IaC</a:t>
            </a:r>
            <a:r>
              <a:rPr lang="en-US" sz="1000" dirty="0"/>
              <a:t>).</a:t>
            </a:r>
          </a:p>
          <a:p>
            <a:r>
              <a:rPr lang="en-US" sz="1000" dirty="0"/>
              <a:t>Monitoring and Logging.</a:t>
            </a:r>
          </a:p>
          <a:p>
            <a:r>
              <a:rPr lang="en-US" sz="1000" dirty="0"/>
              <a:t>Microservices and Containerization.</a:t>
            </a:r>
          </a:p>
          <a:p>
            <a:pPr marL="0" indent="0">
              <a:buFont typeface="Arial" panose="020B0604020202020204" pitchFamily="34" charset="0"/>
              <a:buNone/>
            </a:pPr>
            <a:r>
              <a:rPr lang="en-US" sz="1000" dirty="0"/>
              <a:t>DevOps Tools:</a:t>
            </a:r>
          </a:p>
          <a:p>
            <a:r>
              <a:rPr lang="en-US" sz="1000" dirty="0"/>
              <a:t>Overview of popular DevOps tools like Jenkins, Docker, Kubernetes, Ansible, and Terraform.</a:t>
            </a:r>
          </a:p>
          <a:p>
            <a:r>
              <a:rPr lang="en-US" sz="1000" dirty="0"/>
              <a:t>How these tools facilitate DevOps practic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blue and white diagram with text&#10;&#10;Description automatically generated">
            <a:extLst>
              <a:ext uri="{FF2B5EF4-FFF2-40B4-BE49-F238E27FC236}">
                <a16:creationId xmlns:a16="http://schemas.microsoft.com/office/drawing/2014/main" id="{C3E2BABE-4163-A43A-8563-C0D433F2380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36152" y="2407574"/>
            <a:ext cx="5080000" cy="285750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D1E906-50E4-89EF-51C9-6DF67D70EBE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12FC334-CF72-D1CA-0286-F748036845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E12FC334-CF72-D1CA-0286-F748036845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B1633E0-4B67-E620-E097-74C08B481A19}"/>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1BEED26C-D679-4A25-746A-C3B69E0EF173}"/>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a:t>
            </a:r>
            <a:r>
              <a:rPr lang="en-US" b="1" dirty="0" err="1">
                <a:effectLst>
                  <a:outerShdw blurRad="38100" dist="38100" dir="2700000" algn="tl">
                    <a:srgbClr val="000000">
                      <a:alpha val="43137"/>
                    </a:srgbClr>
                  </a:outerShdw>
                </a:effectLst>
                <a:latin typeface="+mn-lt"/>
                <a:cs typeface="+mj-cs"/>
              </a:rPr>
              <a:t>devops</a:t>
            </a:r>
            <a:r>
              <a:rPr lang="en-US" b="1" dirty="0">
                <a:effectLst>
                  <a:outerShdw blurRad="38100" dist="38100" dir="2700000" algn="tl">
                    <a:srgbClr val="000000">
                      <a:alpha val="43137"/>
                    </a:srgbClr>
                  </a:outerShdw>
                </a:effectLst>
                <a:latin typeface="+mn-lt"/>
                <a:cs typeface="+mj-cs"/>
              </a:rPr>
              <a:t>|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17F226E8-E84A-8810-B7D8-FABC574EFDF5}"/>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2A7B0854-32FF-5D7F-4D38-B6316F3644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B0D07B18-7FE9-249F-8666-35F4C5350FC1}"/>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000" dirty="0"/>
              <a:t>CI/CD Pipeline:</a:t>
            </a:r>
          </a:p>
          <a:p>
            <a:r>
              <a:rPr lang="en-US" sz="1000" dirty="0"/>
              <a:t>Explanation of the CI/CD pipeline.</a:t>
            </a:r>
          </a:p>
          <a:p>
            <a:r>
              <a:rPr lang="en-US" sz="1000" dirty="0"/>
              <a:t>Stages of the pipeline: Source, Build, Test, Deploy, and Monitor.</a:t>
            </a:r>
          </a:p>
          <a:p>
            <a:r>
              <a:rPr lang="en-US" sz="1000" dirty="0"/>
              <a:t>Benefits of implementing a CI/CD pipeline.</a:t>
            </a:r>
          </a:p>
          <a:p>
            <a:pPr marL="0" indent="0">
              <a:buFont typeface="Arial" panose="020B0604020202020204" pitchFamily="34" charset="0"/>
              <a:buNone/>
            </a:pPr>
            <a:r>
              <a:rPr lang="en-US" sz="1000" dirty="0"/>
              <a:t>Infrastructure as Code (</a:t>
            </a:r>
            <a:r>
              <a:rPr lang="en-US" sz="1000" dirty="0" err="1"/>
              <a:t>IaC</a:t>
            </a:r>
            <a:r>
              <a:rPr lang="en-US" sz="1000" dirty="0"/>
              <a:t>):</a:t>
            </a:r>
          </a:p>
          <a:p>
            <a:r>
              <a:rPr lang="en-US" sz="1000" dirty="0"/>
              <a:t>Definition and importance of </a:t>
            </a:r>
            <a:r>
              <a:rPr lang="en-US" sz="1000" dirty="0" err="1"/>
              <a:t>IaC</a:t>
            </a:r>
            <a:r>
              <a:rPr lang="en-US" sz="1000" dirty="0"/>
              <a:t>.</a:t>
            </a:r>
          </a:p>
          <a:p>
            <a:r>
              <a:rPr lang="en-US" sz="1000" dirty="0"/>
              <a:t>Tools for </a:t>
            </a:r>
            <a:r>
              <a:rPr lang="en-US" sz="1000" dirty="0" err="1"/>
              <a:t>IaC</a:t>
            </a:r>
            <a:r>
              <a:rPr lang="en-US" sz="1000" dirty="0"/>
              <a:t>: Terraform, Ansible, Puppet, and Chef.</a:t>
            </a:r>
          </a:p>
          <a:p>
            <a:r>
              <a:rPr lang="en-US" sz="1000" dirty="0"/>
              <a:t>Benefits of </a:t>
            </a:r>
            <a:r>
              <a:rPr lang="en-US" sz="1000" dirty="0" err="1"/>
              <a:t>IaC</a:t>
            </a:r>
            <a:r>
              <a:rPr lang="en-US" sz="1000" dirty="0"/>
              <a:t>: Consistency, version control, and automation.</a:t>
            </a:r>
          </a:p>
          <a:p>
            <a:pPr marL="0" indent="0">
              <a:buFont typeface="Arial" panose="020B0604020202020204" pitchFamily="34" charset="0"/>
              <a:buNone/>
            </a:pPr>
            <a:r>
              <a:rPr lang="en-US" sz="1000" dirty="0"/>
              <a:t>Monitoring and Logging:</a:t>
            </a:r>
          </a:p>
          <a:p>
            <a:r>
              <a:rPr lang="en-US" sz="1000" dirty="0"/>
              <a:t>Importance of monitoring and logging in DevOps.</a:t>
            </a:r>
          </a:p>
          <a:p>
            <a:r>
              <a:rPr lang="en-US" sz="1000" dirty="0"/>
              <a:t>Tools for monitoring and logging: Prometheus, Grafana, ELK Stack (Elasticsearch, Logstash, Kibana).</a:t>
            </a:r>
          </a:p>
          <a:p>
            <a:pPr marL="0" indent="0">
              <a:buFont typeface="Arial" panose="020B0604020202020204" pitchFamily="34" charset="0"/>
              <a:buNone/>
            </a:pPr>
            <a:r>
              <a:rPr lang="en-US" sz="1000" dirty="0"/>
              <a:t>Benefits of DevOps:</a:t>
            </a:r>
          </a:p>
          <a:p>
            <a:r>
              <a:rPr lang="en-US" sz="1000" dirty="0"/>
              <a:t>Faster time to market.</a:t>
            </a:r>
          </a:p>
          <a:p>
            <a:r>
              <a:rPr lang="en-US" sz="1000" dirty="0"/>
              <a:t>Increased efficiency and reduced costs.</a:t>
            </a:r>
          </a:p>
          <a:p>
            <a:r>
              <a:rPr lang="en-US" sz="1000" dirty="0"/>
              <a:t>Enhanced quality and reliability of software.</a:t>
            </a:r>
          </a:p>
        </p:txBody>
      </p:sp>
      <p:sp>
        <p:nvSpPr>
          <p:cNvPr id="12" name="Content Placeholder 3">
            <a:extLst>
              <a:ext uri="{FF2B5EF4-FFF2-40B4-BE49-F238E27FC236}">
                <a16:creationId xmlns:a16="http://schemas.microsoft.com/office/drawing/2014/main" id="{89A09A09-1C46-73FB-4E50-30E465CAF219}"/>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blue and white diagram with text&#10;&#10;Description automatically generated">
            <a:extLst>
              <a:ext uri="{FF2B5EF4-FFF2-40B4-BE49-F238E27FC236}">
                <a16:creationId xmlns:a16="http://schemas.microsoft.com/office/drawing/2014/main" id="{F2B3EAC0-125C-F2B9-4D14-1C38378935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36152" y="2407574"/>
            <a:ext cx="5080000" cy="2857500"/>
          </a:xfrm>
          <a:prstGeom prst="rect">
            <a:avLst/>
          </a:prstGeom>
        </p:spPr>
      </p:pic>
    </p:spTree>
    <p:extLst>
      <p:ext uri="{BB962C8B-B14F-4D97-AF65-F5344CB8AC3E}">
        <p14:creationId xmlns:p14="http://schemas.microsoft.com/office/powerpoint/2010/main" val="3798371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E7A23-D0FA-266F-0B83-37CACED2DBA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75FE5BE-5201-E520-317B-D023CD6C32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B75FE5BE-5201-E520-317B-D023CD6C3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5263A77-D6B7-61A9-C8EF-A3AF72891DA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D7093016-A166-E6B1-F82C-D72624427B46}"/>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a:t>
            </a:r>
            <a:r>
              <a:rPr lang="en-US" b="1" dirty="0" err="1">
                <a:effectLst>
                  <a:outerShdw blurRad="38100" dist="38100" dir="2700000" algn="tl">
                    <a:srgbClr val="000000">
                      <a:alpha val="43137"/>
                    </a:srgbClr>
                  </a:outerShdw>
                </a:effectLst>
                <a:latin typeface="+mn-lt"/>
                <a:cs typeface="+mj-cs"/>
              </a:rPr>
              <a:t>devops</a:t>
            </a:r>
            <a:r>
              <a:rPr lang="en-US" b="1" dirty="0">
                <a:effectLst>
                  <a:outerShdw blurRad="38100" dist="38100" dir="2700000" algn="tl">
                    <a:srgbClr val="000000">
                      <a:alpha val="43137"/>
                    </a:srgbClr>
                  </a:outerShdw>
                </a:effectLst>
                <a:latin typeface="+mn-lt"/>
                <a:cs typeface="+mj-cs"/>
              </a:rPr>
              <a:t>|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D176AA2F-8EA5-4A78-9677-71C5C4FEE438}"/>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DCA7C729-76F8-5A3A-7B4D-93C812FE6B9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0561E30D-74DF-B1F0-4127-0FC2646E3980}"/>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dirty="0"/>
              <a:t>Challenges of DevOps:</a:t>
            </a:r>
          </a:p>
          <a:p>
            <a:r>
              <a:rPr lang="en-US" sz="1200" dirty="0"/>
              <a:t>Cultural shift and resistance to change.</a:t>
            </a:r>
          </a:p>
          <a:p>
            <a:r>
              <a:rPr lang="en-US" sz="1200" dirty="0"/>
              <a:t>Complexity of tool integration.</a:t>
            </a:r>
          </a:p>
          <a:p>
            <a:r>
              <a:rPr lang="en-US" sz="1200" dirty="0"/>
              <a:t>Security concerns in automated environments.</a:t>
            </a:r>
          </a:p>
          <a:p>
            <a:pPr marL="0" indent="0">
              <a:buFont typeface="Arial" panose="020B0604020202020204" pitchFamily="34" charset="0"/>
              <a:buNone/>
            </a:pPr>
            <a:r>
              <a:rPr lang="en-US" sz="1200" dirty="0"/>
              <a:t>Case Studies:</a:t>
            </a:r>
          </a:p>
          <a:p>
            <a:r>
              <a:rPr lang="en-US" sz="1200" dirty="0"/>
              <a:t>Examples of successful DevOps implementations in various industries.</a:t>
            </a:r>
          </a:p>
          <a:p>
            <a:r>
              <a:rPr lang="en-US" sz="1200" dirty="0"/>
              <a:t>Lessons learned from these case studies.</a:t>
            </a:r>
          </a:p>
          <a:p>
            <a:pPr marL="0" indent="0">
              <a:buFont typeface="Arial" panose="020B0604020202020204" pitchFamily="34" charset="0"/>
              <a:buNone/>
            </a:pPr>
            <a:r>
              <a:rPr lang="en-US" sz="1200" dirty="0"/>
              <a:t>Conclusion:</a:t>
            </a:r>
          </a:p>
          <a:p>
            <a:r>
              <a:rPr lang="en-US" sz="1200" dirty="0"/>
              <a:t>Recap of key points.</a:t>
            </a:r>
          </a:p>
          <a:p>
            <a:r>
              <a:rPr lang="en-US" sz="1200" dirty="0"/>
              <a:t>Future trends in DevOps.</a:t>
            </a:r>
          </a:p>
          <a:p>
            <a:r>
              <a:rPr lang="en-US" sz="1200" dirty="0"/>
              <a:t>Q&amp;A session.</a:t>
            </a:r>
          </a:p>
        </p:txBody>
      </p:sp>
      <p:sp>
        <p:nvSpPr>
          <p:cNvPr id="12" name="Content Placeholder 3">
            <a:extLst>
              <a:ext uri="{FF2B5EF4-FFF2-40B4-BE49-F238E27FC236}">
                <a16:creationId xmlns:a16="http://schemas.microsoft.com/office/drawing/2014/main" id="{C83D8B8E-D815-84A5-59C6-C159CD5951A1}"/>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blue and white diagram with text&#10;&#10;Description automatically generated">
            <a:extLst>
              <a:ext uri="{FF2B5EF4-FFF2-40B4-BE49-F238E27FC236}">
                <a16:creationId xmlns:a16="http://schemas.microsoft.com/office/drawing/2014/main" id="{6DDC9C6F-59E4-D656-C6FD-F8E9B478EC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36152" y="2407574"/>
            <a:ext cx="5080000" cy="2857500"/>
          </a:xfrm>
          <a:prstGeom prst="rect">
            <a:avLst/>
          </a:prstGeom>
        </p:spPr>
      </p:pic>
    </p:spTree>
    <p:extLst>
      <p:ext uri="{BB962C8B-B14F-4D97-AF65-F5344CB8AC3E}">
        <p14:creationId xmlns:p14="http://schemas.microsoft.com/office/powerpoint/2010/main" val="30331685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a:t>
            </a:r>
            <a:r>
              <a:rPr lang="en-US" b="1" dirty="0" err="1">
                <a:effectLst>
                  <a:outerShdw blurRad="38100" dist="38100" dir="2700000" algn="tl">
                    <a:srgbClr val="000000">
                      <a:alpha val="43137"/>
                    </a:srgbClr>
                  </a:outerShdw>
                </a:effectLst>
                <a:latin typeface="+mn-lt"/>
                <a:cs typeface="+mj-cs"/>
              </a:rPr>
              <a:t>postgresql</a:t>
            </a:r>
            <a:r>
              <a:rPr lang="en-US" b="1" dirty="0">
                <a:effectLst>
                  <a:outerShdw blurRad="38100" dist="38100" dir="2700000" algn="tl">
                    <a:srgbClr val="000000">
                      <a:alpha val="43137"/>
                    </a:srgbClr>
                  </a:outerShdw>
                </a:effectLst>
                <a:latin typeface="+mn-lt"/>
                <a:cs typeface="+mj-cs"/>
              </a:rPr>
              <a:t>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t>Introduction to PostgreSQL:</a:t>
            </a:r>
          </a:p>
          <a:p>
            <a:r>
              <a:rPr lang="en-US" sz="1400" dirty="0"/>
              <a:t>Definition and overview of PostgreSQL.</a:t>
            </a:r>
          </a:p>
          <a:p>
            <a:r>
              <a:rPr lang="en-US" sz="1400" dirty="0"/>
              <a:t>History and evolution of PostgreSQL.</a:t>
            </a:r>
          </a:p>
          <a:p>
            <a:r>
              <a:rPr lang="en-US" sz="1400" dirty="0"/>
              <a:t>Comparison with other database management systems (DBMS).</a:t>
            </a:r>
          </a:p>
          <a:p>
            <a:pPr marL="0" indent="0">
              <a:buFont typeface="Arial" panose="020B0604020202020204" pitchFamily="34" charset="0"/>
              <a:buNone/>
            </a:pPr>
            <a:r>
              <a:rPr lang="en-US" sz="1400" dirty="0"/>
              <a:t>Features of PostgreSQL:</a:t>
            </a:r>
          </a:p>
          <a:p>
            <a:r>
              <a:rPr lang="en-US" sz="1400" dirty="0"/>
              <a:t>ACID compliance (Atomicity, Consistency, Isolation, Durability).</a:t>
            </a:r>
          </a:p>
          <a:p>
            <a:r>
              <a:rPr lang="en-US" sz="1400" dirty="0"/>
              <a:t>Support for advanced data types (JSON, XML, </a:t>
            </a:r>
            <a:r>
              <a:rPr lang="en-US" sz="1400" dirty="0" err="1"/>
              <a:t>Hstore</a:t>
            </a:r>
            <a:r>
              <a:rPr lang="en-US" sz="1400" dirty="0"/>
              <a:t>).</a:t>
            </a:r>
          </a:p>
          <a:p>
            <a:r>
              <a:rPr lang="en-US" sz="1400" dirty="0"/>
              <a:t>Extensibility (custom data types, functions, operators).</a:t>
            </a:r>
          </a:p>
          <a:p>
            <a:r>
              <a:rPr lang="en-US" sz="1400" dirty="0"/>
              <a:t>Full-text search capabiliti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descr="A logo of an elephant&#10;&#10;Description automatically generated">
            <a:extLst>
              <a:ext uri="{FF2B5EF4-FFF2-40B4-BE49-F238E27FC236}">
                <a16:creationId xmlns:a16="http://schemas.microsoft.com/office/drawing/2014/main" id="{CDDA135D-24EC-2842-B065-72117FB528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91589" y="2452255"/>
            <a:ext cx="2510905" cy="2510905"/>
          </a:xfrm>
          <a:prstGeom prst="rect">
            <a:avLst/>
          </a:prstGeom>
        </p:spPr>
      </p:pic>
    </p:spTree>
    <p:extLst>
      <p:ext uri="{BB962C8B-B14F-4D97-AF65-F5344CB8AC3E}">
        <p14:creationId xmlns:p14="http://schemas.microsoft.com/office/powerpoint/2010/main" val="3233747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489eda54-cdc8-4a48-94a2-8f9cf8024289"/>
    <ds:schemaRef ds:uri="http://schemas.openxmlformats.org/package/2006/metadata/core-properties"/>
    <ds:schemaRef ds:uri="d64320fb-f9a3-4131-8206-9d18da17abe9"/>
    <ds:schemaRef ds:uri="http://schemas.microsoft.com/office/2006/metadata/properties"/>
    <ds:schemaRef ds:uri="http://purl.org/dc/terms/"/>
    <ds:schemaRef ds:uri="http://purl.org/dc/elements/1.1/"/>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759</TotalTime>
  <Words>1895</Words>
  <Application>Microsoft Macintosh PowerPoint</Application>
  <PresentationFormat>Widescreen</PresentationFormat>
  <Paragraphs>231</Paragraphs>
  <Slides>26</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Arial</vt:lpstr>
      <vt:lpstr>Calibri</vt:lpstr>
      <vt:lpstr>Office Theme</vt:lpstr>
      <vt:lpstr>think-cell Slide</vt:lpstr>
      <vt:lpstr>PowerPoint Presentation</vt:lpstr>
      <vt:lpstr>PowerPoint Presentation</vt:lpstr>
      <vt:lpstr>Learning 1 - Agile | My takeaways</vt:lpstr>
      <vt:lpstr>Learning 1 – Agile | My takeaways</vt:lpstr>
      <vt:lpstr>Learning 1 – Agile | My takeaways</vt:lpstr>
      <vt:lpstr>Learning 2 - devops| My takeaways</vt:lpstr>
      <vt:lpstr>Learning 2 - devops| My takeaways</vt:lpstr>
      <vt:lpstr>Learning 2 - devops| My takeaways</vt:lpstr>
      <vt:lpstr>Learning 3 – postgresql | My takeaways</vt:lpstr>
      <vt:lpstr>Learning 3 – DBMS | My takeaways</vt:lpstr>
      <vt:lpstr>Learning 3 – DBMS | My takeaways</vt:lpstr>
      <vt:lpstr>Learning 3 – DBMS | My takeaways</vt:lpstr>
      <vt:lpstr>PowerPoint Presentation</vt:lpstr>
      <vt:lpstr>Learning Agile | Relevance for Shell</vt:lpstr>
      <vt:lpstr>Learning Devops | Relevance for Shell</vt:lpstr>
      <vt:lpstr>Learning postgresql | Relevance for Shell</vt:lpstr>
      <vt:lpstr>PowerPoint Presentation</vt:lpstr>
      <vt:lpstr>Challenge faced while implementing Learning agile</vt:lpstr>
      <vt:lpstr>Challenge faced while implementing Learning devops</vt:lpstr>
      <vt:lpstr>Challenge faced while implementing Learning postgresql</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Mandal, Siddharth SBOBNG-PTIY/TGC</cp:lastModifiedBy>
  <cp:revision>500</cp:revision>
  <dcterms:created xsi:type="dcterms:W3CDTF">2022-01-18T12:35:56Z</dcterms:created>
  <dcterms:modified xsi:type="dcterms:W3CDTF">2024-09-06T11:0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